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7" r:id="rId6"/>
    <p:sldMasterId id="2147483710" r:id="rId7"/>
    <p:sldMasterId id="2147483724" r:id="rId8"/>
  </p:sldMasterIdLst>
  <p:notesMasterIdLst>
    <p:notesMasterId r:id="rId30"/>
  </p:notesMasterIdLst>
  <p:sldIdLst>
    <p:sldId id="269" r:id="rId9"/>
    <p:sldId id="268" r:id="rId10"/>
    <p:sldId id="259" r:id="rId11"/>
    <p:sldId id="301" r:id="rId12"/>
    <p:sldId id="2147468201" r:id="rId13"/>
    <p:sldId id="302" r:id="rId14"/>
    <p:sldId id="2147468194" r:id="rId15"/>
    <p:sldId id="295" r:id="rId16"/>
    <p:sldId id="299" r:id="rId17"/>
    <p:sldId id="411" r:id="rId18"/>
    <p:sldId id="261" r:id="rId19"/>
    <p:sldId id="305" r:id="rId20"/>
    <p:sldId id="304" r:id="rId21"/>
    <p:sldId id="303" r:id="rId22"/>
    <p:sldId id="2147468195" r:id="rId23"/>
    <p:sldId id="2147468196" r:id="rId24"/>
    <p:sldId id="2147468197" r:id="rId25"/>
    <p:sldId id="510" r:id="rId26"/>
    <p:sldId id="2147468200" r:id="rId27"/>
    <p:sldId id="2147468199" r:id="rId28"/>
    <p:sldId id="2147468198"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4"/>
    <a:srgbClr val="82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D15F46-7E44-4D7C-A42A-646EB5A156D8}" v="5" dt="2025-04-14T19:42:35.638"/>
    <p1510:client id="{E4755E99-0471-42A0-B0E2-D04B3F129D81}" v="3" dt="2025-04-15T11:53:46.0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718" autoAdjust="0"/>
  </p:normalViewPr>
  <p:slideViewPr>
    <p:cSldViewPr snapToGrid="0">
      <p:cViewPr varScale="1">
        <p:scale>
          <a:sx n="100" d="100"/>
          <a:sy n="100" d="100"/>
        </p:scale>
        <p:origin x="690" y="-51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urtney Tenhover" userId="S::ctenhover@lorainccc.edu::ae2cf505-6387-4cc4-9e8f-d6c2096d9cc9" providerId="AD" clId="Web-{4B078665-7AF3-4038-8400-3034563641C3}"/>
    <pc:docChg chg="modSld">
      <pc:chgData name="Courtney Tenhover" userId="S::ctenhover@lorainccc.edu::ae2cf505-6387-4cc4-9e8f-d6c2096d9cc9" providerId="AD" clId="Web-{4B078665-7AF3-4038-8400-3034563641C3}" dt="2025-03-17T20:40:53.092" v="42" actId="1076"/>
      <pc:docMkLst>
        <pc:docMk/>
      </pc:docMkLst>
      <pc:sldChg chg="delSp modSp">
        <pc:chgData name="Courtney Tenhover" userId="S::ctenhover@lorainccc.edu::ae2cf505-6387-4cc4-9e8f-d6c2096d9cc9" providerId="AD" clId="Web-{4B078665-7AF3-4038-8400-3034563641C3}" dt="2025-03-17T20:40:53.092" v="42" actId="1076"/>
        <pc:sldMkLst>
          <pc:docMk/>
          <pc:sldMk cId="0" sldId="269"/>
        </pc:sldMkLst>
        <pc:spChg chg="mod">
          <ac:chgData name="Courtney Tenhover" userId="S::ctenhover@lorainccc.edu::ae2cf505-6387-4cc4-9e8f-d6c2096d9cc9" providerId="AD" clId="Web-{4B078665-7AF3-4038-8400-3034563641C3}" dt="2025-03-17T20:39:54.700" v="30" actId="1076"/>
          <ac:spMkLst>
            <pc:docMk/>
            <pc:sldMk cId="0" sldId="269"/>
            <ac:spMk id="10" creationId="{00000000-0000-0000-0000-000000000000}"/>
          </ac:spMkLst>
        </pc:spChg>
        <pc:spChg chg="mod">
          <ac:chgData name="Courtney Tenhover" userId="S::ctenhover@lorainccc.edu::ae2cf505-6387-4cc4-9e8f-d6c2096d9cc9" providerId="AD" clId="Web-{4B078665-7AF3-4038-8400-3034563641C3}" dt="2025-03-17T20:40:22.404" v="36" actId="1076"/>
          <ac:spMkLst>
            <pc:docMk/>
            <pc:sldMk cId="0" sldId="269"/>
            <ac:spMk id="11" creationId="{00000000-0000-0000-0000-000000000000}"/>
          </ac:spMkLst>
        </pc:spChg>
        <pc:spChg chg="del">
          <ac:chgData name="Courtney Tenhover" userId="S::ctenhover@lorainccc.edu::ae2cf505-6387-4cc4-9e8f-d6c2096d9cc9" providerId="AD" clId="Web-{4B078665-7AF3-4038-8400-3034563641C3}" dt="2025-03-17T20:40:12.248" v="35"/>
          <ac:spMkLst>
            <pc:docMk/>
            <pc:sldMk cId="0" sldId="269"/>
            <ac:spMk id="14" creationId="{00000000-0000-0000-0000-000000000000}"/>
          </ac:spMkLst>
        </pc:spChg>
        <pc:spChg chg="mod">
          <ac:chgData name="Courtney Tenhover" userId="S::ctenhover@lorainccc.edu::ae2cf505-6387-4cc4-9e8f-d6c2096d9cc9" providerId="AD" clId="Web-{4B078665-7AF3-4038-8400-3034563641C3}" dt="2025-03-17T20:40:48.529" v="41" actId="1076"/>
          <ac:spMkLst>
            <pc:docMk/>
            <pc:sldMk cId="0" sldId="269"/>
            <ac:spMk id="15" creationId="{1C189053-3F90-3D5A-A734-A5DF8437815E}"/>
          </ac:spMkLst>
        </pc:spChg>
        <pc:spChg chg="mod">
          <ac:chgData name="Courtney Tenhover" userId="S::ctenhover@lorainccc.edu::ae2cf505-6387-4cc4-9e8f-d6c2096d9cc9" providerId="AD" clId="Web-{4B078665-7AF3-4038-8400-3034563641C3}" dt="2025-03-17T20:40:39.936" v="39" actId="1076"/>
          <ac:spMkLst>
            <pc:docMk/>
            <pc:sldMk cId="0" sldId="269"/>
            <ac:spMk id="28" creationId="{00000000-0000-0000-0000-000000000000}"/>
          </ac:spMkLst>
        </pc:spChg>
        <pc:spChg chg="mod">
          <ac:chgData name="Courtney Tenhover" userId="S::ctenhover@lorainccc.edu::ae2cf505-6387-4cc4-9e8f-d6c2096d9cc9" providerId="AD" clId="Web-{4B078665-7AF3-4038-8400-3034563641C3}" dt="2025-03-17T20:40:34.638" v="38" actId="1076"/>
          <ac:spMkLst>
            <pc:docMk/>
            <pc:sldMk cId="0" sldId="269"/>
            <ac:spMk id="30" creationId="{00000000-0000-0000-0000-000000000000}"/>
          </ac:spMkLst>
        </pc:spChg>
        <pc:grpChg chg="mod">
          <ac:chgData name="Courtney Tenhover" userId="S::ctenhover@lorainccc.edu::ae2cf505-6387-4cc4-9e8f-d6c2096d9cc9" providerId="AD" clId="Web-{4B078665-7AF3-4038-8400-3034563641C3}" dt="2025-03-17T20:40:30.919" v="37" actId="1076"/>
          <ac:grpSpMkLst>
            <pc:docMk/>
            <pc:sldMk cId="0" sldId="269"/>
            <ac:grpSpMk id="12" creationId="{00000000-0000-0000-0000-000000000000}"/>
          </ac:grpSpMkLst>
        </pc:grpChg>
        <pc:picChg chg="mod">
          <ac:chgData name="Courtney Tenhover" userId="S::ctenhover@lorainccc.edu::ae2cf505-6387-4cc4-9e8f-d6c2096d9cc9" providerId="AD" clId="Web-{4B078665-7AF3-4038-8400-3034563641C3}" dt="2025-03-17T20:40:53.092" v="42" actId="1076"/>
          <ac:picMkLst>
            <pc:docMk/>
            <pc:sldMk cId="0" sldId="269"/>
            <ac:picMk id="35" creationId="{8F882295-5F48-46CD-BF79-69DDACF02678}"/>
          </ac:picMkLst>
        </pc:picChg>
      </pc:sldChg>
    </pc:docChg>
  </pc:docChgLst>
  <pc:docChgLst>
    <pc:chgData name="Courtney Tenhover" userId="ae2cf505-6387-4cc4-9e8f-d6c2096d9cc9" providerId="ADAL" clId="{3EC7B1CB-A5A4-4FCB-9CD6-8D02C08B3307}"/>
    <pc:docChg chg="undo custSel addSld delSld modSld sldOrd">
      <pc:chgData name="Courtney Tenhover" userId="ae2cf505-6387-4cc4-9e8f-d6c2096d9cc9" providerId="ADAL" clId="{3EC7B1CB-A5A4-4FCB-9CD6-8D02C08B3307}" dt="2025-02-17T18:52:31.501" v="255" actId="2085"/>
      <pc:docMkLst>
        <pc:docMk/>
      </pc:docMkLst>
      <pc:sldChg chg="modSp mod">
        <pc:chgData name="Courtney Tenhover" userId="ae2cf505-6387-4cc4-9e8f-d6c2096d9cc9" providerId="ADAL" clId="{3EC7B1CB-A5A4-4FCB-9CD6-8D02C08B3307}" dt="2025-02-14T19:19:38.959" v="16" actId="20577"/>
        <pc:sldMkLst>
          <pc:docMk/>
          <pc:sldMk cId="48821582" sldId="268"/>
        </pc:sldMkLst>
        <pc:spChg chg="mod">
          <ac:chgData name="Courtney Tenhover" userId="ae2cf505-6387-4cc4-9e8f-d6c2096d9cc9" providerId="ADAL" clId="{3EC7B1CB-A5A4-4FCB-9CD6-8D02C08B3307}" dt="2025-02-14T19:14:14.400" v="12" actId="1037"/>
          <ac:spMkLst>
            <pc:docMk/>
            <pc:sldMk cId="48821582" sldId="268"/>
            <ac:spMk id="2" creationId="{00000000-0000-0000-0000-000000000000}"/>
          </ac:spMkLst>
        </pc:spChg>
        <pc:spChg chg="mod">
          <ac:chgData name="Courtney Tenhover" userId="ae2cf505-6387-4cc4-9e8f-d6c2096d9cc9" providerId="ADAL" clId="{3EC7B1CB-A5A4-4FCB-9CD6-8D02C08B3307}" dt="2025-02-14T19:19:38.959" v="16" actId="20577"/>
          <ac:spMkLst>
            <pc:docMk/>
            <pc:sldMk cId="48821582" sldId="268"/>
            <ac:spMk id="34" creationId="{00000000-0000-0000-0000-000000000000}"/>
          </ac:spMkLst>
        </pc:spChg>
      </pc:sldChg>
      <pc:sldChg chg="modSp mod">
        <pc:chgData name="Courtney Tenhover" userId="ae2cf505-6387-4cc4-9e8f-d6c2096d9cc9" providerId="ADAL" clId="{3EC7B1CB-A5A4-4FCB-9CD6-8D02C08B3307}" dt="2025-02-17T18:51:34.714" v="245" actId="2711"/>
        <pc:sldMkLst>
          <pc:docMk/>
          <pc:sldMk cId="0" sldId="269"/>
        </pc:sldMkLst>
        <pc:spChg chg="mod">
          <ac:chgData name="Courtney Tenhover" userId="ae2cf505-6387-4cc4-9e8f-d6c2096d9cc9" providerId="ADAL" clId="{3EC7B1CB-A5A4-4FCB-9CD6-8D02C08B3307}" dt="2025-02-17T18:51:34.714" v="245" actId="2711"/>
          <ac:spMkLst>
            <pc:docMk/>
            <pc:sldMk cId="0" sldId="269"/>
            <ac:spMk id="30" creationId="{00000000-0000-0000-0000-000000000000}"/>
          </ac:spMkLst>
        </pc:spChg>
      </pc:sldChg>
      <pc:sldChg chg="addSp delSp mod">
        <pc:chgData name="Courtney Tenhover" userId="ae2cf505-6387-4cc4-9e8f-d6c2096d9cc9" providerId="ADAL" clId="{3EC7B1CB-A5A4-4FCB-9CD6-8D02C08B3307}" dt="2025-02-17T18:39:42.709" v="23" actId="22"/>
        <pc:sldMkLst>
          <pc:docMk/>
          <pc:sldMk cId="2835311434" sldId="295"/>
        </pc:sldMkLst>
        <pc:spChg chg="add del">
          <ac:chgData name="Courtney Tenhover" userId="ae2cf505-6387-4cc4-9e8f-d6c2096d9cc9" providerId="ADAL" clId="{3EC7B1CB-A5A4-4FCB-9CD6-8D02C08B3307}" dt="2025-02-17T18:39:42.709" v="23" actId="22"/>
          <ac:spMkLst>
            <pc:docMk/>
            <pc:sldMk cId="2835311434" sldId="295"/>
            <ac:spMk id="31" creationId="{A503B697-A4BE-4A85-9E81-D1727F85C3D2}"/>
          </ac:spMkLst>
        </pc:spChg>
      </pc:sldChg>
      <pc:sldChg chg="addSp delSp modSp mod">
        <pc:chgData name="Courtney Tenhover" userId="ae2cf505-6387-4cc4-9e8f-d6c2096d9cc9" providerId="ADAL" clId="{3EC7B1CB-A5A4-4FCB-9CD6-8D02C08B3307}" dt="2025-02-17T18:44:05.823" v="73" actId="1076"/>
        <pc:sldMkLst>
          <pc:docMk/>
          <pc:sldMk cId="338131953" sldId="296"/>
        </pc:sldMkLst>
        <pc:picChg chg="add mod">
          <ac:chgData name="Courtney Tenhover" userId="ae2cf505-6387-4cc4-9e8f-d6c2096d9cc9" providerId="ADAL" clId="{3EC7B1CB-A5A4-4FCB-9CD6-8D02C08B3307}" dt="2025-02-17T18:44:05.823" v="73" actId="1076"/>
          <ac:picMkLst>
            <pc:docMk/>
            <pc:sldMk cId="338131953" sldId="296"/>
            <ac:picMk id="5" creationId="{990B4642-E104-4387-BA09-25541AA49D5A}"/>
          </ac:picMkLst>
        </pc:picChg>
        <pc:picChg chg="del">
          <ac:chgData name="Courtney Tenhover" userId="ae2cf505-6387-4cc4-9e8f-d6c2096d9cc9" providerId="ADAL" clId="{3EC7B1CB-A5A4-4FCB-9CD6-8D02C08B3307}" dt="2025-02-14T19:13:46.560" v="0" actId="478"/>
          <ac:picMkLst>
            <pc:docMk/>
            <pc:sldMk cId="338131953" sldId="296"/>
            <ac:picMk id="15" creationId="{026F6B8E-7285-4BDE-8332-364F65D31325}"/>
          </ac:picMkLst>
        </pc:picChg>
      </pc:sldChg>
      <pc:sldChg chg="del">
        <pc:chgData name="Courtney Tenhover" userId="ae2cf505-6387-4cc4-9e8f-d6c2096d9cc9" providerId="ADAL" clId="{3EC7B1CB-A5A4-4FCB-9CD6-8D02C08B3307}" dt="2025-02-17T18:39:54.013" v="24" actId="47"/>
        <pc:sldMkLst>
          <pc:docMk/>
          <pc:sldMk cId="1395866306" sldId="299"/>
        </pc:sldMkLst>
      </pc:sldChg>
      <pc:sldChg chg="addSp delSp modSp mod">
        <pc:chgData name="Courtney Tenhover" userId="ae2cf505-6387-4cc4-9e8f-d6c2096d9cc9" providerId="ADAL" clId="{3EC7B1CB-A5A4-4FCB-9CD6-8D02C08B3307}" dt="2025-02-17T18:48:13.787" v="223" actId="167"/>
        <pc:sldMkLst>
          <pc:docMk/>
          <pc:sldMk cId="2263598897" sldId="302"/>
        </pc:sldMkLst>
        <pc:picChg chg="del">
          <ac:chgData name="Courtney Tenhover" userId="ae2cf505-6387-4cc4-9e8f-d6c2096d9cc9" providerId="ADAL" clId="{3EC7B1CB-A5A4-4FCB-9CD6-8D02C08B3307}" dt="2025-02-17T18:44:14.712" v="74" actId="478"/>
          <ac:picMkLst>
            <pc:docMk/>
            <pc:sldMk cId="2263598897" sldId="302"/>
            <ac:picMk id="5" creationId="{DA511F8E-FD21-49F6-A5A1-AB4119080023}"/>
          </ac:picMkLst>
        </pc:picChg>
        <pc:picChg chg="add mod ord">
          <ac:chgData name="Courtney Tenhover" userId="ae2cf505-6387-4cc4-9e8f-d6c2096d9cc9" providerId="ADAL" clId="{3EC7B1CB-A5A4-4FCB-9CD6-8D02C08B3307}" dt="2025-02-17T18:48:13.787" v="223" actId="167"/>
          <ac:picMkLst>
            <pc:docMk/>
            <pc:sldMk cId="2263598897" sldId="302"/>
            <ac:picMk id="7" creationId="{876CD31F-A742-4560-A647-01A602E58844}"/>
          </ac:picMkLst>
        </pc:picChg>
      </pc:sldChg>
      <pc:sldChg chg="add del">
        <pc:chgData name="Courtney Tenhover" userId="ae2cf505-6387-4cc4-9e8f-d6c2096d9cc9" providerId="ADAL" clId="{3EC7B1CB-A5A4-4FCB-9CD6-8D02C08B3307}" dt="2025-02-17T18:39:38.054" v="21"/>
        <pc:sldMkLst>
          <pc:docMk/>
          <pc:sldMk cId="2189396226" sldId="426"/>
        </pc:sldMkLst>
      </pc:sldChg>
      <pc:sldChg chg="addSp delSp modSp add del mod">
        <pc:chgData name="Courtney Tenhover" userId="ae2cf505-6387-4cc4-9e8f-d6c2096d9cc9" providerId="ADAL" clId="{3EC7B1CB-A5A4-4FCB-9CD6-8D02C08B3307}" dt="2025-02-17T18:43:16.062" v="71" actId="1076"/>
        <pc:sldMkLst>
          <pc:docMk/>
          <pc:sldMk cId="1386972481" sldId="505"/>
        </pc:sldMkLst>
        <pc:spChg chg="mod">
          <ac:chgData name="Courtney Tenhover" userId="ae2cf505-6387-4cc4-9e8f-d6c2096d9cc9" providerId="ADAL" clId="{3EC7B1CB-A5A4-4FCB-9CD6-8D02C08B3307}" dt="2025-02-17T18:41:38.512" v="36" actId="1076"/>
          <ac:spMkLst>
            <pc:docMk/>
            <pc:sldMk cId="1386972481" sldId="505"/>
            <ac:spMk id="3" creationId="{C9FEBF67-FAB4-22A4-C7CD-D0AF23A2914F}"/>
          </ac:spMkLst>
        </pc:spChg>
        <pc:spChg chg="del mod">
          <ac:chgData name="Courtney Tenhover" userId="ae2cf505-6387-4cc4-9e8f-d6c2096d9cc9" providerId="ADAL" clId="{3EC7B1CB-A5A4-4FCB-9CD6-8D02C08B3307}" dt="2025-02-17T18:41:30.849" v="33" actId="478"/>
          <ac:spMkLst>
            <pc:docMk/>
            <pc:sldMk cId="1386972481" sldId="505"/>
            <ac:spMk id="6" creationId="{2C4692CD-C262-40CB-7CA1-266C74917D91}"/>
          </ac:spMkLst>
        </pc:spChg>
        <pc:spChg chg="add mod ord">
          <ac:chgData name="Courtney Tenhover" userId="ae2cf505-6387-4cc4-9e8f-d6c2096d9cc9" providerId="ADAL" clId="{3EC7B1CB-A5A4-4FCB-9CD6-8D02C08B3307}" dt="2025-02-17T18:43:16.062" v="71" actId="1076"/>
          <ac:spMkLst>
            <pc:docMk/>
            <pc:sldMk cId="1386972481" sldId="505"/>
            <ac:spMk id="9" creationId="{AA6C6AEB-CC15-4EB8-9646-A4730BA72576}"/>
          </ac:spMkLst>
        </pc:spChg>
        <pc:spChg chg="add mod">
          <ac:chgData name="Courtney Tenhover" userId="ae2cf505-6387-4cc4-9e8f-d6c2096d9cc9" providerId="ADAL" clId="{3EC7B1CB-A5A4-4FCB-9CD6-8D02C08B3307}" dt="2025-02-17T18:42:57.142" v="68" actId="1076"/>
          <ac:spMkLst>
            <pc:docMk/>
            <pc:sldMk cId="1386972481" sldId="505"/>
            <ac:spMk id="10" creationId="{AE039D77-D6BD-4686-B2E5-447CFF137E6C}"/>
          </ac:spMkLst>
        </pc:spChg>
        <pc:picChg chg="mod">
          <ac:chgData name="Courtney Tenhover" userId="ae2cf505-6387-4cc4-9e8f-d6c2096d9cc9" providerId="ADAL" clId="{3EC7B1CB-A5A4-4FCB-9CD6-8D02C08B3307}" dt="2025-02-17T18:41:41.351" v="37" actId="1076"/>
          <ac:picMkLst>
            <pc:docMk/>
            <pc:sldMk cId="1386972481" sldId="505"/>
            <ac:picMk id="8" creationId="{7323790D-4937-8676-8642-75891F6A5FD5}"/>
          </ac:picMkLst>
        </pc:picChg>
      </pc:sldChg>
      <pc:sldChg chg="delSp modSp add del mod">
        <pc:chgData name="Courtney Tenhover" userId="ae2cf505-6387-4cc4-9e8f-d6c2096d9cc9" providerId="ADAL" clId="{3EC7B1CB-A5A4-4FCB-9CD6-8D02C08B3307}" dt="2025-02-17T18:41:27.076" v="32" actId="1076"/>
        <pc:sldMkLst>
          <pc:docMk/>
          <pc:sldMk cId="1536137677" sldId="506"/>
        </pc:sldMkLst>
        <pc:spChg chg="del">
          <ac:chgData name="Courtney Tenhover" userId="ae2cf505-6387-4cc4-9e8f-d6c2096d9cc9" providerId="ADAL" clId="{3EC7B1CB-A5A4-4FCB-9CD6-8D02C08B3307}" dt="2025-02-17T18:40:24.544" v="25" actId="478"/>
          <ac:spMkLst>
            <pc:docMk/>
            <pc:sldMk cId="1536137677" sldId="506"/>
            <ac:spMk id="10" creationId="{798A34A3-FCC6-3CEA-B3BE-BFB3A3A4FA83}"/>
          </ac:spMkLst>
        </pc:spChg>
        <pc:picChg chg="mod">
          <ac:chgData name="Courtney Tenhover" userId="ae2cf505-6387-4cc4-9e8f-d6c2096d9cc9" providerId="ADAL" clId="{3EC7B1CB-A5A4-4FCB-9CD6-8D02C08B3307}" dt="2025-02-17T18:41:27.076" v="32" actId="1076"/>
          <ac:picMkLst>
            <pc:docMk/>
            <pc:sldMk cId="1536137677" sldId="506"/>
            <ac:picMk id="6" creationId="{268D033A-0D4F-3EF7-4B1C-23578A8CFE2D}"/>
          </ac:picMkLst>
        </pc:picChg>
      </pc:sldChg>
      <pc:sldChg chg="add del">
        <pc:chgData name="Courtney Tenhover" userId="ae2cf505-6387-4cc4-9e8f-d6c2096d9cc9" providerId="ADAL" clId="{3EC7B1CB-A5A4-4FCB-9CD6-8D02C08B3307}" dt="2025-02-17T18:39:38.054" v="21"/>
        <pc:sldMkLst>
          <pc:docMk/>
          <pc:sldMk cId="1222072992" sldId="507"/>
        </pc:sldMkLst>
      </pc:sldChg>
      <pc:sldChg chg="modSp add del">
        <pc:chgData name="Courtney Tenhover" userId="ae2cf505-6387-4cc4-9e8f-d6c2096d9cc9" providerId="ADAL" clId="{3EC7B1CB-A5A4-4FCB-9CD6-8D02C08B3307}" dt="2025-02-17T18:41:00.267" v="29" actId="14100"/>
        <pc:sldMkLst>
          <pc:docMk/>
          <pc:sldMk cId="297333881" sldId="508"/>
        </pc:sldMkLst>
        <pc:picChg chg="mod">
          <ac:chgData name="Courtney Tenhover" userId="ae2cf505-6387-4cc4-9e8f-d6c2096d9cc9" providerId="ADAL" clId="{3EC7B1CB-A5A4-4FCB-9CD6-8D02C08B3307}" dt="2025-02-17T18:41:00.267" v="29" actId="14100"/>
          <ac:picMkLst>
            <pc:docMk/>
            <pc:sldMk cId="297333881" sldId="508"/>
            <ac:picMk id="1026" creationId="{538D80ED-9A70-F397-3523-8909A100758D}"/>
          </ac:picMkLst>
        </pc:picChg>
      </pc:sldChg>
      <pc:sldChg chg="add del">
        <pc:chgData name="Courtney Tenhover" userId="ae2cf505-6387-4cc4-9e8f-d6c2096d9cc9" providerId="ADAL" clId="{3EC7B1CB-A5A4-4FCB-9CD6-8D02C08B3307}" dt="2025-02-17T18:39:38.054" v="21"/>
        <pc:sldMkLst>
          <pc:docMk/>
          <pc:sldMk cId="2095703642" sldId="509"/>
        </pc:sldMkLst>
      </pc:sldChg>
      <pc:sldChg chg="addSp delSp modSp add mod ord">
        <pc:chgData name="Courtney Tenhover" userId="ae2cf505-6387-4cc4-9e8f-d6c2096d9cc9" providerId="ADAL" clId="{3EC7B1CB-A5A4-4FCB-9CD6-8D02C08B3307}" dt="2025-02-17T18:52:31.501" v="255" actId="2085"/>
        <pc:sldMkLst>
          <pc:docMk/>
          <pc:sldMk cId="2320850437" sldId="510"/>
        </pc:sldMkLst>
        <pc:spChg chg="mod">
          <ac:chgData name="Courtney Tenhover" userId="ae2cf505-6387-4cc4-9e8f-d6c2096d9cc9" providerId="ADAL" clId="{3EC7B1CB-A5A4-4FCB-9CD6-8D02C08B3307}" dt="2025-02-17T18:51:00.462" v="237" actId="14100"/>
          <ac:spMkLst>
            <pc:docMk/>
            <pc:sldMk cId="2320850437" sldId="510"/>
            <ac:spMk id="2" creationId="{00000000-0000-0000-0000-000000000000}"/>
          </ac:spMkLst>
        </pc:spChg>
        <pc:spChg chg="del">
          <ac:chgData name="Courtney Tenhover" userId="ae2cf505-6387-4cc4-9e8f-d6c2096d9cc9" providerId="ADAL" clId="{3EC7B1CB-A5A4-4FCB-9CD6-8D02C08B3307}" dt="2025-02-17T18:50:33.033" v="231" actId="478"/>
          <ac:spMkLst>
            <pc:docMk/>
            <pc:sldMk cId="2320850437" sldId="510"/>
            <ac:spMk id="3" creationId="{00000000-0000-0000-0000-000000000000}"/>
          </ac:spMkLst>
        </pc:spChg>
        <pc:spChg chg="mod">
          <ac:chgData name="Courtney Tenhover" userId="ae2cf505-6387-4cc4-9e8f-d6c2096d9cc9" providerId="ADAL" clId="{3EC7B1CB-A5A4-4FCB-9CD6-8D02C08B3307}" dt="2025-02-17T18:52:17.527" v="253" actId="1076"/>
          <ac:spMkLst>
            <pc:docMk/>
            <pc:sldMk cId="2320850437" sldId="510"/>
            <ac:spMk id="8" creationId="{7D5855B0-C4B5-487B-8555-94B567121885}"/>
          </ac:spMkLst>
        </pc:spChg>
        <pc:picChg chg="del">
          <ac:chgData name="Courtney Tenhover" userId="ae2cf505-6387-4cc4-9e8f-d6c2096d9cc9" providerId="ADAL" clId="{3EC7B1CB-A5A4-4FCB-9CD6-8D02C08B3307}" dt="2025-02-17T18:44:36.751" v="82" actId="478"/>
          <ac:picMkLst>
            <pc:docMk/>
            <pc:sldMk cId="2320850437" sldId="510"/>
            <ac:picMk id="4" creationId="{1C4161F3-F753-41EA-A6C8-F0460B9DB3C0}"/>
          </ac:picMkLst>
        </pc:picChg>
        <pc:picChg chg="add del mod">
          <ac:chgData name="Courtney Tenhover" userId="ae2cf505-6387-4cc4-9e8f-d6c2096d9cc9" providerId="ADAL" clId="{3EC7B1CB-A5A4-4FCB-9CD6-8D02C08B3307}" dt="2025-02-17T18:50:54.660" v="234" actId="478"/>
          <ac:picMkLst>
            <pc:docMk/>
            <pc:sldMk cId="2320850437" sldId="510"/>
            <ac:picMk id="6" creationId="{9634EA8B-B371-4D1D-BCB9-3A613CC532F0}"/>
          </ac:picMkLst>
        </pc:picChg>
        <pc:picChg chg="del">
          <ac:chgData name="Courtney Tenhover" userId="ae2cf505-6387-4cc4-9e8f-d6c2096d9cc9" providerId="ADAL" clId="{3EC7B1CB-A5A4-4FCB-9CD6-8D02C08B3307}" dt="2025-02-17T18:44:38.291" v="86" actId="478"/>
          <ac:picMkLst>
            <pc:docMk/>
            <pc:sldMk cId="2320850437" sldId="510"/>
            <ac:picMk id="7" creationId="{982BB006-A862-4EF4-87F6-D10EBDA2517E}"/>
          </ac:picMkLst>
        </pc:picChg>
        <pc:picChg chg="add mod modCrop">
          <ac:chgData name="Courtney Tenhover" userId="ae2cf505-6387-4cc4-9e8f-d6c2096d9cc9" providerId="ADAL" clId="{3EC7B1CB-A5A4-4FCB-9CD6-8D02C08B3307}" dt="2025-02-17T18:52:31.501" v="255" actId="2085"/>
          <ac:picMkLst>
            <pc:docMk/>
            <pc:sldMk cId="2320850437" sldId="510"/>
            <ac:picMk id="36" creationId="{E4C689E3-9A9A-4E68-813E-7E223B3E8E16}"/>
          </ac:picMkLst>
        </pc:picChg>
        <pc:picChg chg="del mod">
          <ac:chgData name="Courtney Tenhover" userId="ae2cf505-6387-4cc4-9e8f-d6c2096d9cc9" providerId="ADAL" clId="{3EC7B1CB-A5A4-4FCB-9CD6-8D02C08B3307}" dt="2025-02-17T18:44:36.268" v="81" actId="478"/>
          <ac:picMkLst>
            <pc:docMk/>
            <pc:sldMk cId="2320850437" sldId="510"/>
            <ac:picMk id="1026" creationId="{542F9E6C-01B6-48BF-853D-EB644949D11D}"/>
          </ac:picMkLst>
        </pc:picChg>
        <pc:picChg chg="del">
          <ac:chgData name="Courtney Tenhover" userId="ae2cf505-6387-4cc4-9e8f-d6c2096d9cc9" providerId="ADAL" clId="{3EC7B1CB-A5A4-4FCB-9CD6-8D02C08B3307}" dt="2025-02-17T18:44:37.531" v="84" actId="478"/>
          <ac:picMkLst>
            <pc:docMk/>
            <pc:sldMk cId="2320850437" sldId="510"/>
            <ac:picMk id="1030" creationId="{4A7A3751-AC4A-48C9-97D5-423F17AE5858}"/>
          </ac:picMkLst>
        </pc:picChg>
        <pc:picChg chg="del">
          <ac:chgData name="Courtney Tenhover" userId="ae2cf505-6387-4cc4-9e8f-d6c2096d9cc9" providerId="ADAL" clId="{3EC7B1CB-A5A4-4FCB-9CD6-8D02C08B3307}" dt="2025-02-17T18:44:38.790" v="87" actId="478"/>
          <ac:picMkLst>
            <pc:docMk/>
            <pc:sldMk cId="2320850437" sldId="510"/>
            <ac:picMk id="1032" creationId="{51A5E115-5C12-4E36-9DB8-CF18F7BBA1C6}"/>
          </ac:picMkLst>
        </pc:picChg>
        <pc:picChg chg="del">
          <ac:chgData name="Courtney Tenhover" userId="ae2cf505-6387-4cc4-9e8f-d6c2096d9cc9" providerId="ADAL" clId="{3EC7B1CB-A5A4-4FCB-9CD6-8D02C08B3307}" dt="2025-02-17T18:44:37.143" v="83" actId="478"/>
          <ac:picMkLst>
            <pc:docMk/>
            <pc:sldMk cId="2320850437" sldId="510"/>
            <ac:picMk id="1034" creationId="{48AEB424-0C4D-4014-B69B-32D6CE375C9B}"/>
          </ac:picMkLst>
        </pc:picChg>
        <pc:picChg chg="del">
          <ac:chgData name="Courtney Tenhover" userId="ae2cf505-6387-4cc4-9e8f-d6c2096d9cc9" providerId="ADAL" clId="{3EC7B1CB-A5A4-4FCB-9CD6-8D02C08B3307}" dt="2025-02-17T18:44:37.921" v="85" actId="478"/>
          <ac:picMkLst>
            <pc:docMk/>
            <pc:sldMk cId="2320850437" sldId="510"/>
            <ac:picMk id="1036" creationId="{E1A99400-810A-49B9-823B-AD65004182E9}"/>
          </ac:picMkLst>
        </pc:picChg>
        <pc:picChg chg="add mod">
          <ac:chgData name="Courtney Tenhover" userId="ae2cf505-6387-4cc4-9e8f-d6c2096d9cc9" providerId="ADAL" clId="{3EC7B1CB-A5A4-4FCB-9CD6-8D02C08B3307}" dt="2025-02-17T18:51:16.149" v="242" actId="14100"/>
          <ac:picMkLst>
            <pc:docMk/>
            <pc:sldMk cId="2320850437" sldId="510"/>
            <ac:picMk id="2050" creationId="{B6BC7F32-7E06-418F-B02A-BA95E8C2BA6A}"/>
          </ac:picMkLst>
        </pc:picChg>
      </pc:sldChg>
    </pc:docChg>
  </pc:docChgLst>
  <pc:docChgLst>
    <pc:chgData name="Courtney Tenhover" userId="ae2cf505-6387-4cc4-9e8f-d6c2096d9cc9" providerId="ADAL" clId="{91FB0961-B303-48CB-A2AE-69F821A42951}"/>
    <pc:docChg chg="undo custSel addSld delSld modSld sldOrd">
      <pc:chgData name="Courtney Tenhover" userId="ae2cf505-6387-4cc4-9e8f-d6c2096d9cc9" providerId="ADAL" clId="{91FB0961-B303-48CB-A2AE-69F821A42951}" dt="2025-03-18T13:41:33.500" v="15"/>
      <pc:docMkLst>
        <pc:docMk/>
      </pc:docMkLst>
      <pc:sldChg chg="modSp add del mod">
        <pc:chgData name="Courtney Tenhover" userId="ae2cf505-6387-4cc4-9e8f-d6c2096d9cc9" providerId="ADAL" clId="{91FB0961-B303-48CB-A2AE-69F821A42951}" dt="2025-03-18T12:16:19.515" v="13"/>
        <pc:sldMkLst>
          <pc:docMk/>
          <pc:sldMk cId="0" sldId="256"/>
        </pc:sldMkLst>
        <pc:spChg chg="mod">
          <ac:chgData name="Courtney Tenhover" userId="ae2cf505-6387-4cc4-9e8f-d6c2096d9cc9" providerId="ADAL" clId="{91FB0961-B303-48CB-A2AE-69F821A42951}" dt="2025-03-18T12:16:19.515" v="13"/>
          <ac:spMkLst>
            <pc:docMk/>
            <pc:sldMk cId="0" sldId="256"/>
            <ac:spMk id="3" creationId="{00000000-0000-0000-0000-000000000000}"/>
          </ac:spMkLst>
        </pc:spChg>
      </pc:sldChg>
      <pc:sldChg chg="modSp add del mod">
        <pc:chgData name="Courtney Tenhover" userId="ae2cf505-6387-4cc4-9e8f-d6c2096d9cc9" providerId="ADAL" clId="{91FB0961-B303-48CB-A2AE-69F821A42951}" dt="2025-03-18T12:16:19.515" v="13"/>
        <pc:sldMkLst>
          <pc:docMk/>
          <pc:sldMk cId="0" sldId="257"/>
        </pc:sldMkLst>
        <pc:spChg chg="mod">
          <ac:chgData name="Courtney Tenhover" userId="ae2cf505-6387-4cc4-9e8f-d6c2096d9cc9" providerId="ADAL" clId="{91FB0961-B303-48CB-A2AE-69F821A42951}" dt="2025-03-18T12:16:19.515" v="13"/>
          <ac:spMkLst>
            <pc:docMk/>
            <pc:sldMk cId="0" sldId="257"/>
            <ac:spMk id="3" creationId="{00000000-0000-0000-0000-000000000000}"/>
          </ac:spMkLst>
        </pc:spChg>
      </pc:sldChg>
      <pc:sldChg chg="add del">
        <pc:chgData name="Courtney Tenhover" userId="ae2cf505-6387-4cc4-9e8f-d6c2096d9cc9" providerId="ADAL" clId="{91FB0961-B303-48CB-A2AE-69F821A42951}" dt="2025-03-18T12:16:19.515" v="13"/>
        <pc:sldMkLst>
          <pc:docMk/>
          <pc:sldMk cId="0" sldId="258"/>
        </pc:sldMkLst>
      </pc:sldChg>
      <pc:sldChg chg="add del">
        <pc:chgData name="Courtney Tenhover" userId="ae2cf505-6387-4cc4-9e8f-d6c2096d9cc9" providerId="ADAL" clId="{91FB0961-B303-48CB-A2AE-69F821A42951}" dt="2025-03-18T12:16:19.515" v="13"/>
        <pc:sldMkLst>
          <pc:docMk/>
          <pc:sldMk cId="0" sldId="260"/>
        </pc:sldMkLst>
      </pc:sldChg>
      <pc:sldChg chg="add del">
        <pc:chgData name="Courtney Tenhover" userId="ae2cf505-6387-4cc4-9e8f-d6c2096d9cc9" providerId="ADAL" clId="{91FB0961-B303-48CB-A2AE-69F821A42951}" dt="2025-03-18T12:16:19.515" v="13"/>
        <pc:sldMkLst>
          <pc:docMk/>
          <pc:sldMk cId="2330476560" sldId="261"/>
        </pc:sldMkLst>
      </pc:sldChg>
      <pc:sldChg chg="add del">
        <pc:chgData name="Courtney Tenhover" userId="ae2cf505-6387-4cc4-9e8f-d6c2096d9cc9" providerId="ADAL" clId="{91FB0961-B303-48CB-A2AE-69F821A42951}" dt="2025-03-18T12:16:19.515" v="13"/>
        <pc:sldMkLst>
          <pc:docMk/>
          <pc:sldMk cId="0" sldId="262"/>
        </pc:sldMkLst>
      </pc:sldChg>
      <pc:sldChg chg="add del">
        <pc:chgData name="Courtney Tenhover" userId="ae2cf505-6387-4cc4-9e8f-d6c2096d9cc9" providerId="ADAL" clId="{91FB0961-B303-48CB-A2AE-69F821A42951}" dt="2025-03-18T12:16:19.515" v="13"/>
        <pc:sldMkLst>
          <pc:docMk/>
          <pc:sldMk cId="0" sldId="263"/>
        </pc:sldMkLst>
      </pc:sldChg>
      <pc:sldChg chg="add del">
        <pc:chgData name="Courtney Tenhover" userId="ae2cf505-6387-4cc4-9e8f-d6c2096d9cc9" providerId="ADAL" clId="{91FB0961-B303-48CB-A2AE-69F821A42951}" dt="2025-03-18T12:16:19.515" v="13"/>
        <pc:sldMkLst>
          <pc:docMk/>
          <pc:sldMk cId="0" sldId="264"/>
        </pc:sldMkLst>
      </pc:sldChg>
      <pc:sldChg chg="ord">
        <pc:chgData name="Courtney Tenhover" userId="ae2cf505-6387-4cc4-9e8f-d6c2096d9cc9" providerId="ADAL" clId="{91FB0961-B303-48CB-A2AE-69F821A42951}" dt="2025-03-18T13:41:33.500" v="15"/>
        <pc:sldMkLst>
          <pc:docMk/>
          <pc:sldMk cId="2835311434" sldId="295"/>
        </pc:sldMkLst>
      </pc:sldChg>
      <pc:sldChg chg="modSp mod">
        <pc:chgData name="Courtney Tenhover" userId="ae2cf505-6387-4cc4-9e8f-d6c2096d9cc9" providerId="ADAL" clId="{91FB0961-B303-48CB-A2AE-69F821A42951}" dt="2025-03-18T12:03:25.666" v="6" actId="1076"/>
        <pc:sldMkLst>
          <pc:docMk/>
          <pc:sldMk cId="2263598897" sldId="302"/>
        </pc:sldMkLst>
        <pc:spChg chg="mod">
          <ac:chgData name="Courtney Tenhover" userId="ae2cf505-6387-4cc4-9e8f-d6c2096d9cc9" providerId="ADAL" clId="{91FB0961-B303-48CB-A2AE-69F821A42951}" dt="2025-03-18T12:03:25.666" v="6" actId="1076"/>
          <ac:spMkLst>
            <pc:docMk/>
            <pc:sldMk cId="2263598897" sldId="302"/>
            <ac:spMk id="36" creationId="{3AAAA20B-B4E2-4F32-81AF-D65D8916F1D2}"/>
          </ac:spMkLst>
        </pc:spChg>
      </pc:sldChg>
      <pc:sldChg chg="modSp mod">
        <pc:chgData name="Courtney Tenhover" userId="ae2cf505-6387-4cc4-9e8f-d6c2096d9cc9" providerId="ADAL" clId="{91FB0961-B303-48CB-A2AE-69F821A42951}" dt="2025-03-18T12:03:45.362" v="8" actId="1076"/>
        <pc:sldMkLst>
          <pc:docMk/>
          <pc:sldMk cId="2320850437" sldId="510"/>
        </pc:sldMkLst>
        <pc:picChg chg="mod">
          <ac:chgData name="Courtney Tenhover" userId="ae2cf505-6387-4cc4-9e8f-d6c2096d9cc9" providerId="ADAL" clId="{91FB0961-B303-48CB-A2AE-69F821A42951}" dt="2025-03-18T12:03:45.362" v="8" actId="1076"/>
          <ac:picMkLst>
            <pc:docMk/>
            <pc:sldMk cId="2320850437" sldId="510"/>
            <ac:picMk id="36" creationId="{E4C689E3-9A9A-4E68-813E-7E223B3E8E16}"/>
          </ac:picMkLst>
        </pc:picChg>
      </pc:sldChg>
      <pc:sldChg chg="modSp mod">
        <pc:chgData name="Courtney Tenhover" userId="ae2cf505-6387-4cc4-9e8f-d6c2096d9cc9" providerId="ADAL" clId="{91FB0961-B303-48CB-A2AE-69F821A42951}" dt="2025-03-18T12:02:47.598" v="5" actId="1037"/>
        <pc:sldMkLst>
          <pc:docMk/>
          <pc:sldMk cId="2148807831" sldId="512"/>
        </pc:sldMkLst>
        <pc:spChg chg="mod">
          <ac:chgData name="Courtney Tenhover" userId="ae2cf505-6387-4cc4-9e8f-d6c2096d9cc9" providerId="ADAL" clId="{91FB0961-B303-48CB-A2AE-69F821A42951}" dt="2025-03-18T12:02:47.598" v="5" actId="1037"/>
          <ac:spMkLst>
            <pc:docMk/>
            <pc:sldMk cId="2148807831" sldId="512"/>
            <ac:spMk id="2" creationId="{00000000-0000-0000-0000-000000000000}"/>
          </ac:spMkLst>
        </pc:spChg>
      </pc:sldChg>
      <pc:sldChg chg="add del">
        <pc:chgData name="Courtney Tenhover" userId="ae2cf505-6387-4cc4-9e8f-d6c2096d9cc9" providerId="ADAL" clId="{91FB0961-B303-48CB-A2AE-69F821A42951}" dt="2025-03-18T12:16:19.515" v="13"/>
        <pc:sldMkLst>
          <pc:docMk/>
          <pc:sldMk cId="0" sldId="513"/>
        </pc:sldMkLst>
      </pc:sldChg>
    </pc:docChg>
  </pc:docChgLst>
  <pc:docChgLst>
    <pc:chgData name="Courtney Tenhover" userId="ae2cf505-6387-4cc4-9e8f-d6c2096d9cc9" providerId="ADAL" clId="{090A8C7D-C9CF-40B4-A561-FFCC7FA99627}"/>
    <pc:docChg chg="undo custSel addSld delSld modSld sldOrd">
      <pc:chgData name="Courtney Tenhover" userId="ae2cf505-6387-4cc4-9e8f-d6c2096d9cc9" providerId="ADAL" clId="{090A8C7D-C9CF-40B4-A561-FFCC7FA99627}" dt="2025-03-17T23:59:33.544" v="2602" actId="1076"/>
      <pc:docMkLst>
        <pc:docMk/>
      </pc:docMkLst>
      <pc:sldChg chg="modSp mod">
        <pc:chgData name="Courtney Tenhover" userId="ae2cf505-6387-4cc4-9e8f-d6c2096d9cc9" providerId="ADAL" clId="{090A8C7D-C9CF-40B4-A561-FFCC7FA99627}" dt="2025-03-17T23:06:10.944" v="1016" actId="1037"/>
        <pc:sldMkLst>
          <pc:docMk/>
          <pc:sldMk cId="0" sldId="259"/>
        </pc:sldMkLst>
        <pc:spChg chg="mod">
          <ac:chgData name="Courtney Tenhover" userId="ae2cf505-6387-4cc4-9e8f-d6c2096d9cc9" providerId="ADAL" clId="{090A8C7D-C9CF-40B4-A561-FFCC7FA99627}" dt="2025-03-17T23:06:10.944" v="1016" actId="1037"/>
          <ac:spMkLst>
            <pc:docMk/>
            <pc:sldMk cId="0" sldId="259"/>
            <ac:spMk id="2" creationId="{448EFE20-8FF1-4FA2-B1B6-5BB7583F9B1C}"/>
          </ac:spMkLst>
        </pc:spChg>
      </pc:sldChg>
      <pc:sldChg chg="modSp mod">
        <pc:chgData name="Courtney Tenhover" userId="ae2cf505-6387-4cc4-9e8f-d6c2096d9cc9" providerId="ADAL" clId="{090A8C7D-C9CF-40B4-A561-FFCC7FA99627}" dt="2025-03-17T23:05:59.833" v="1013" actId="403"/>
        <pc:sldMkLst>
          <pc:docMk/>
          <pc:sldMk cId="48821582" sldId="268"/>
        </pc:sldMkLst>
        <pc:spChg chg="mod">
          <ac:chgData name="Courtney Tenhover" userId="ae2cf505-6387-4cc4-9e8f-d6c2096d9cc9" providerId="ADAL" clId="{090A8C7D-C9CF-40B4-A561-FFCC7FA99627}" dt="2025-03-17T23:05:55.082" v="1011" actId="404"/>
          <ac:spMkLst>
            <pc:docMk/>
            <pc:sldMk cId="48821582" sldId="268"/>
            <ac:spMk id="33" creationId="{00000000-0000-0000-0000-000000000000}"/>
          </ac:spMkLst>
        </pc:spChg>
        <pc:spChg chg="mod">
          <ac:chgData name="Courtney Tenhover" userId="ae2cf505-6387-4cc4-9e8f-d6c2096d9cc9" providerId="ADAL" clId="{090A8C7D-C9CF-40B4-A561-FFCC7FA99627}" dt="2025-03-17T23:05:57.386" v="1012" actId="403"/>
          <ac:spMkLst>
            <pc:docMk/>
            <pc:sldMk cId="48821582" sldId="268"/>
            <ac:spMk id="34" creationId="{00000000-0000-0000-0000-000000000000}"/>
          </ac:spMkLst>
        </pc:spChg>
        <pc:spChg chg="mod">
          <ac:chgData name="Courtney Tenhover" userId="ae2cf505-6387-4cc4-9e8f-d6c2096d9cc9" providerId="ADAL" clId="{090A8C7D-C9CF-40B4-A561-FFCC7FA99627}" dt="2025-03-17T23:05:59.833" v="1013" actId="403"/>
          <ac:spMkLst>
            <pc:docMk/>
            <pc:sldMk cId="48821582" sldId="268"/>
            <ac:spMk id="38" creationId="{00000000-0000-0000-0000-000000000000}"/>
          </ac:spMkLst>
        </pc:spChg>
      </pc:sldChg>
      <pc:sldChg chg="addSp delSp modSp mod">
        <pc:chgData name="Courtney Tenhover" userId="ae2cf505-6387-4cc4-9e8f-d6c2096d9cc9" providerId="ADAL" clId="{090A8C7D-C9CF-40B4-A561-FFCC7FA99627}" dt="2025-03-17T23:05:24.325" v="1008" actId="122"/>
        <pc:sldMkLst>
          <pc:docMk/>
          <pc:sldMk cId="0" sldId="269"/>
        </pc:sldMkLst>
        <pc:spChg chg="mod">
          <ac:chgData name="Courtney Tenhover" userId="ae2cf505-6387-4cc4-9e8f-d6c2096d9cc9" providerId="ADAL" clId="{090A8C7D-C9CF-40B4-A561-FFCC7FA99627}" dt="2025-03-17T20:42:55.562" v="27" actId="1076"/>
          <ac:spMkLst>
            <pc:docMk/>
            <pc:sldMk cId="0" sldId="269"/>
            <ac:spMk id="10" creationId="{00000000-0000-0000-0000-000000000000}"/>
          </ac:spMkLst>
        </pc:spChg>
        <pc:spChg chg="mod">
          <ac:chgData name="Courtney Tenhover" userId="ae2cf505-6387-4cc4-9e8f-d6c2096d9cc9" providerId="ADAL" clId="{090A8C7D-C9CF-40B4-A561-FFCC7FA99627}" dt="2025-03-17T20:42:45.535" v="22" actId="1076"/>
          <ac:spMkLst>
            <pc:docMk/>
            <pc:sldMk cId="0" sldId="269"/>
            <ac:spMk id="11" creationId="{00000000-0000-0000-0000-000000000000}"/>
          </ac:spMkLst>
        </pc:spChg>
        <pc:spChg chg="mod">
          <ac:chgData name="Courtney Tenhover" userId="ae2cf505-6387-4cc4-9e8f-d6c2096d9cc9" providerId="ADAL" clId="{090A8C7D-C9CF-40B4-A561-FFCC7FA99627}" dt="2025-03-17T20:44:16.986" v="126" actId="1036"/>
          <ac:spMkLst>
            <pc:docMk/>
            <pc:sldMk cId="0" sldId="269"/>
            <ac:spMk id="15" creationId="{1C189053-3F90-3D5A-A734-A5DF8437815E}"/>
          </ac:spMkLst>
        </pc:spChg>
        <pc:spChg chg="del mod">
          <ac:chgData name="Courtney Tenhover" userId="ae2cf505-6387-4cc4-9e8f-d6c2096d9cc9" providerId="ADAL" clId="{090A8C7D-C9CF-40B4-A561-FFCC7FA99627}" dt="2025-03-17T20:43:06.725" v="58" actId="478"/>
          <ac:spMkLst>
            <pc:docMk/>
            <pc:sldMk cId="0" sldId="269"/>
            <ac:spMk id="18" creationId="{00000000-0000-0000-0000-000000000000}"/>
          </ac:spMkLst>
        </pc:spChg>
        <pc:spChg chg="mod">
          <ac:chgData name="Courtney Tenhover" userId="ae2cf505-6387-4cc4-9e8f-d6c2096d9cc9" providerId="ADAL" clId="{090A8C7D-C9CF-40B4-A561-FFCC7FA99627}" dt="2025-03-17T20:49:07.593" v="170" actId="1038"/>
          <ac:spMkLst>
            <pc:docMk/>
            <pc:sldMk cId="0" sldId="269"/>
            <ac:spMk id="20" creationId="{00000000-0000-0000-0000-000000000000}"/>
          </ac:spMkLst>
        </pc:spChg>
        <pc:spChg chg="add del mod">
          <ac:chgData name="Courtney Tenhover" userId="ae2cf505-6387-4cc4-9e8f-d6c2096d9cc9" providerId="ADAL" clId="{090A8C7D-C9CF-40B4-A561-FFCC7FA99627}" dt="2025-03-17T20:50:11.426" v="185" actId="478"/>
          <ac:spMkLst>
            <pc:docMk/>
            <pc:sldMk cId="0" sldId="269"/>
            <ac:spMk id="27" creationId="{00000000-0000-0000-0000-000000000000}"/>
          </ac:spMkLst>
        </pc:spChg>
        <pc:spChg chg="mod">
          <ac:chgData name="Courtney Tenhover" userId="ae2cf505-6387-4cc4-9e8f-d6c2096d9cc9" providerId="ADAL" clId="{090A8C7D-C9CF-40B4-A561-FFCC7FA99627}" dt="2025-03-17T23:05:11.582" v="1006" actId="1076"/>
          <ac:spMkLst>
            <pc:docMk/>
            <pc:sldMk cId="0" sldId="269"/>
            <ac:spMk id="28" creationId="{00000000-0000-0000-0000-000000000000}"/>
          </ac:spMkLst>
        </pc:spChg>
        <pc:spChg chg="mod">
          <ac:chgData name="Courtney Tenhover" userId="ae2cf505-6387-4cc4-9e8f-d6c2096d9cc9" providerId="ADAL" clId="{090A8C7D-C9CF-40B4-A561-FFCC7FA99627}" dt="2025-03-17T23:05:15.289" v="1007" actId="1076"/>
          <ac:spMkLst>
            <pc:docMk/>
            <pc:sldMk cId="0" sldId="269"/>
            <ac:spMk id="30" creationId="{00000000-0000-0000-0000-000000000000}"/>
          </ac:spMkLst>
        </pc:spChg>
        <pc:spChg chg="mod">
          <ac:chgData name="Courtney Tenhover" userId="ae2cf505-6387-4cc4-9e8f-d6c2096d9cc9" providerId="ADAL" clId="{090A8C7D-C9CF-40B4-A561-FFCC7FA99627}" dt="2025-03-17T20:50:07.078" v="183" actId="692"/>
          <ac:spMkLst>
            <pc:docMk/>
            <pc:sldMk cId="0" sldId="269"/>
            <ac:spMk id="31" creationId="{6926DC36-CF0D-4310-BD0A-2E11D81DDB7B}"/>
          </ac:spMkLst>
        </pc:spChg>
        <pc:spChg chg="mod">
          <ac:chgData name="Courtney Tenhover" userId="ae2cf505-6387-4cc4-9e8f-d6c2096d9cc9" providerId="ADAL" clId="{090A8C7D-C9CF-40B4-A561-FFCC7FA99627}" dt="2025-03-17T23:05:24.325" v="1008" actId="122"/>
          <ac:spMkLst>
            <pc:docMk/>
            <pc:sldMk cId="0" sldId="269"/>
            <ac:spMk id="34" creationId="{D66A0C6B-180A-4EFB-8BAB-DDCEA130D808}"/>
          </ac:spMkLst>
        </pc:spChg>
        <pc:grpChg chg="mod">
          <ac:chgData name="Courtney Tenhover" userId="ae2cf505-6387-4cc4-9e8f-d6c2096d9cc9" providerId="ADAL" clId="{090A8C7D-C9CF-40B4-A561-FFCC7FA99627}" dt="2025-03-17T20:44:42.150" v="145" actId="14100"/>
          <ac:grpSpMkLst>
            <pc:docMk/>
            <pc:sldMk cId="0" sldId="269"/>
            <ac:grpSpMk id="6" creationId="{00000000-0000-0000-0000-000000000000}"/>
          </ac:grpSpMkLst>
        </pc:grpChg>
        <pc:grpChg chg="mod">
          <ac:chgData name="Courtney Tenhover" userId="ae2cf505-6387-4cc4-9e8f-d6c2096d9cc9" providerId="ADAL" clId="{090A8C7D-C9CF-40B4-A561-FFCC7FA99627}" dt="2025-03-17T20:42:38.889" v="20" actId="1076"/>
          <ac:grpSpMkLst>
            <pc:docMk/>
            <pc:sldMk cId="0" sldId="269"/>
            <ac:grpSpMk id="12" creationId="{00000000-0000-0000-0000-000000000000}"/>
          </ac:grpSpMkLst>
        </pc:grpChg>
        <pc:grpChg chg="mod">
          <ac:chgData name="Courtney Tenhover" userId="ae2cf505-6387-4cc4-9e8f-d6c2096d9cc9" providerId="ADAL" clId="{090A8C7D-C9CF-40B4-A561-FFCC7FA99627}" dt="2025-03-17T20:44:45.743" v="147" actId="1076"/>
          <ac:grpSpMkLst>
            <pc:docMk/>
            <pc:sldMk cId="0" sldId="269"/>
            <ac:grpSpMk id="19" creationId="{00000000-0000-0000-0000-000000000000}"/>
          </ac:grpSpMkLst>
        </pc:grpChg>
        <pc:picChg chg="mod">
          <ac:chgData name="Courtney Tenhover" userId="ae2cf505-6387-4cc4-9e8f-d6c2096d9cc9" providerId="ADAL" clId="{090A8C7D-C9CF-40B4-A561-FFCC7FA99627}" dt="2025-03-17T20:44:20.353" v="137" actId="1038"/>
          <ac:picMkLst>
            <pc:docMk/>
            <pc:sldMk cId="0" sldId="269"/>
            <ac:picMk id="35" creationId="{8F882295-5F48-46CD-BF79-69DDACF02678}"/>
          </ac:picMkLst>
        </pc:picChg>
      </pc:sldChg>
      <pc:sldChg chg="addSp delSp modSp add mod modNotesTx">
        <pc:chgData name="Courtney Tenhover" userId="ae2cf505-6387-4cc4-9e8f-d6c2096d9cc9" providerId="ADAL" clId="{090A8C7D-C9CF-40B4-A561-FFCC7FA99627}" dt="2025-03-17T23:57:55.636" v="2599" actId="1036"/>
        <pc:sldMkLst>
          <pc:docMk/>
          <pc:sldMk cId="1520073781" sldId="288"/>
        </pc:sldMkLst>
        <pc:spChg chg="del mod">
          <ac:chgData name="Courtney Tenhover" userId="ae2cf505-6387-4cc4-9e8f-d6c2096d9cc9" providerId="ADAL" clId="{090A8C7D-C9CF-40B4-A561-FFCC7FA99627}" dt="2025-03-17T23:55:42.795" v="2557" actId="478"/>
          <ac:spMkLst>
            <pc:docMk/>
            <pc:sldMk cId="1520073781" sldId="288"/>
            <ac:spMk id="2" creationId="{ADA39832-6F32-4613-A769-70C805BB592E}"/>
          </ac:spMkLst>
        </pc:spChg>
        <pc:spChg chg="add mod">
          <ac:chgData name="Courtney Tenhover" userId="ae2cf505-6387-4cc4-9e8f-d6c2096d9cc9" providerId="ADAL" clId="{090A8C7D-C9CF-40B4-A561-FFCC7FA99627}" dt="2025-03-17T23:57:19.892" v="2581" actId="1036"/>
          <ac:spMkLst>
            <pc:docMk/>
            <pc:sldMk cId="1520073781" sldId="288"/>
            <ac:spMk id="3" creationId="{9A29320C-1956-4058-A239-D931D56AB620}"/>
          </ac:spMkLst>
        </pc:spChg>
        <pc:spChg chg="add mod">
          <ac:chgData name="Courtney Tenhover" userId="ae2cf505-6387-4cc4-9e8f-d6c2096d9cc9" providerId="ADAL" clId="{090A8C7D-C9CF-40B4-A561-FFCC7FA99627}" dt="2025-03-17T23:56:22.922" v="2567" actId="1076"/>
          <ac:spMkLst>
            <pc:docMk/>
            <pc:sldMk cId="1520073781" sldId="288"/>
            <ac:spMk id="4" creationId="{DE7BFD13-445E-4DA0-99D6-A7EBC3D1EC60}"/>
          </ac:spMkLst>
        </pc:spChg>
        <pc:spChg chg="mod">
          <ac:chgData name="Courtney Tenhover" userId="ae2cf505-6387-4cc4-9e8f-d6c2096d9cc9" providerId="ADAL" clId="{090A8C7D-C9CF-40B4-A561-FFCC7FA99627}" dt="2025-03-17T23:55:16.591" v="2552" actId="113"/>
          <ac:spMkLst>
            <pc:docMk/>
            <pc:sldMk cId="1520073781" sldId="288"/>
            <ac:spMk id="5" creationId="{D3496FAB-E1DC-AE77-BC9B-DDD341AEC1AA}"/>
          </ac:spMkLst>
        </pc:spChg>
        <pc:spChg chg="mod">
          <ac:chgData name="Courtney Tenhover" userId="ae2cf505-6387-4cc4-9e8f-d6c2096d9cc9" providerId="ADAL" clId="{090A8C7D-C9CF-40B4-A561-FFCC7FA99627}" dt="2025-03-17T23:57:07.418" v="2575" actId="1035"/>
          <ac:spMkLst>
            <pc:docMk/>
            <pc:sldMk cId="1520073781" sldId="288"/>
            <ac:spMk id="9" creationId="{670F9B90-A4E7-4569-AE69-E2122B18CC88}"/>
          </ac:spMkLst>
        </pc:spChg>
        <pc:spChg chg="add mod">
          <ac:chgData name="Courtney Tenhover" userId="ae2cf505-6387-4cc4-9e8f-d6c2096d9cc9" providerId="ADAL" clId="{090A8C7D-C9CF-40B4-A561-FFCC7FA99627}" dt="2025-03-17T23:57:28.466" v="2595" actId="1036"/>
          <ac:spMkLst>
            <pc:docMk/>
            <pc:sldMk cId="1520073781" sldId="288"/>
            <ac:spMk id="17" creationId="{65EE234B-3F5F-40EE-9C47-D91D116CF86C}"/>
          </ac:spMkLst>
        </pc:spChg>
        <pc:spChg chg="mod">
          <ac:chgData name="Courtney Tenhover" userId="ae2cf505-6387-4cc4-9e8f-d6c2096d9cc9" providerId="ADAL" clId="{090A8C7D-C9CF-40B4-A561-FFCC7FA99627}" dt="2025-03-17T23:56:15.774" v="2565" actId="1076"/>
          <ac:spMkLst>
            <pc:docMk/>
            <pc:sldMk cId="1520073781" sldId="288"/>
            <ac:spMk id="27" creationId="{89813376-2E9C-451F-B5E6-0257A7C0513F}"/>
          </ac:spMkLst>
        </pc:spChg>
        <pc:spChg chg="mod">
          <ac:chgData name="Courtney Tenhover" userId="ae2cf505-6387-4cc4-9e8f-d6c2096d9cc9" providerId="ADAL" clId="{090A8C7D-C9CF-40B4-A561-FFCC7FA99627}" dt="2025-03-17T23:56:03.407" v="2561" actId="1076"/>
          <ac:spMkLst>
            <pc:docMk/>
            <pc:sldMk cId="1520073781" sldId="288"/>
            <ac:spMk id="28" creationId="{7EFE113F-F49E-4528-BBBB-98E33C88975F}"/>
          </ac:spMkLst>
        </pc:spChg>
        <pc:spChg chg="mod">
          <ac:chgData name="Courtney Tenhover" userId="ae2cf505-6387-4cc4-9e8f-d6c2096d9cc9" providerId="ADAL" clId="{090A8C7D-C9CF-40B4-A561-FFCC7FA99627}" dt="2025-03-17T23:55:54.274" v="2560" actId="14100"/>
          <ac:spMkLst>
            <pc:docMk/>
            <pc:sldMk cId="1520073781" sldId="288"/>
            <ac:spMk id="30" creationId="{CB5843DB-3359-413A-8FAC-0D94B284FCC9}"/>
          </ac:spMkLst>
        </pc:spChg>
        <pc:picChg chg="del mod">
          <ac:chgData name="Courtney Tenhover" userId="ae2cf505-6387-4cc4-9e8f-d6c2096d9cc9" providerId="ADAL" clId="{090A8C7D-C9CF-40B4-A561-FFCC7FA99627}" dt="2025-03-17T23:44:59.554" v="1627" actId="478"/>
          <ac:picMkLst>
            <pc:docMk/>
            <pc:sldMk cId="1520073781" sldId="288"/>
            <ac:picMk id="13" creationId="{DF672164-0C52-4B2B-B621-4D50A1F2BC33}"/>
          </ac:picMkLst>
        </pc:picChg>
        <pc:picChg chg="mod modCrop">
          <ac:chgData name="Courtney Tenhover" userId="ae2cf505-6387-4cc4-9e8f-d6c2096d9cc9" providerId="ADAL" clId="{090A8C7D-C9CF-40B4-A561-FFCC7FA99627}" dt="2025-03-17T23:53:11.740" v="2493" actId="1076"/>
          <ac:picMkLst>
            <pc:docMk/>
            <pc:sldMk cId="1520073781" sldId="288"/>
            <ac:picMk id="14" creationId="{CC81E354-7C66-4A02-A7A2-6C2CD7733FD4}"/>
          </ac:picMkLst>
        </pc:picChg>
        <pc:picChg chg="mod modCrop">
          <ac:chgData name="Courtney Tenhover" userId="ae2cf505-6387-4cc4-9e8f-d6c2096d9cc9" providerId="ADAL" clId="{090A8C7D-C9CF-40B4-A561-FFCC7FA99627}" dt="2025-03-17T23:53:18.522" v="2495" actId="1076"/>
          <ac:picMkLst>
            <pc:docMk/>
            <pc:sldMk cId="1520073781" sldId="288"/>
            <ac:picMk id="15" creationId="{5A39FAE3-7478-4182-8FCE-7BA58A937B83}"/>
          </ac:picMkLst>
        </pc:picChg>
        <pc:picChg chg="mod modCrop">
          <ac:chgData name="Courtney Tenhover" userId="ae2cf505-6387-4cc4-9e8f-d6c2096d9cc9" providerId="ADAL" clId="{090A8C7D-C9CF-40B4-A561-FFCC7FA99627}" dt="2025-03-17T23:53:16.489" v="2494" actId="1076"/>
          <ac:picMkLst>
            <pc:docMk/>
            <pc:sldMk cId="1520073781" sldId="288"/>
            <ac:picMk id="16" creationId="{EC10DDDB-A9FA-4C99-BFA4-43D247681975}"/>
          </ac:picMkLst>
        </pc:picChg>
        <pc:picChg chg="mod modCrop">
          <ac:chgData name="Courtney Tenhover" userId="ae2cf505-6387-4cc4-9e8f-d6c2096d9cc9" providerId="ADAL" clId="{090A8C7D-C9CF-40B4-A561-FFCC7FA99627}" dt="2025-03-17T23:57:55.636" v="2599" actId="1036"/>
          <ac:picMkLst>
            <pc:docMk/>
            <pc:sldMk cId="1520073781" sldId="288"/>
            <ac:picMk id="26" creationId="{629F227B-28D0-4506-99C0-30FE26F1B3B6}"/>
          </ac:picMkLst>
        </pc:picChg>
        <pc:cxnChg chg="add mod">
          <ac:chgData name="Courtney Tenhover" userId="ae2cf505-6387-4cc4-9e8f-d6c2096d9cc9" providerId="ADAL" clId="{090A8C7D-C9CF-40B4-A561-FFCC7FA99627}" dt="2025-03-17T23:57:03.090" v="2573" actId="14100"/>
          <ac:cxnSpMkLst>
            <pc:docMk/>
            <pc:sldMk cId="1520073781" sldId="288"/>
            <ac:cxnSpMk id="7" creationId="{73BA2385-8F5C-4C14-93B5-FCE38909382E}"/>
          </ac:cxnSpMkLst>
        </pc:cxnChg>
        <pc:cxnChg chg="add mod">
          <ac:chgData name="Courtney Tenhover" userId="ae2cf505-6387-4cc4-9e8f-d6c2096d9cc9" providerId="ADAL" clId="{090A8C7D-C9CF-40B4-A561-FFCC7FA99627}" dt="2025-03-17T23:57:17.263" v="2577" actId="1076"/>
          <ac:cxnSpMkLst>
            <pc:docMk/>
            <pc:sldMk cId="1520073781" sldId="288"/>
            <ac:cxnSpMk id="19" creationId="{6AD8DD5A-BDBA-418B-B435-C621A3AC3442}"/>
          </ac:cxnSpMkLst>
        </pc:cxnChg>
      </pc:sldChg>
      <pc:sldChg chg="delSp modSp mod">
        <pc:chgData name="Courtney Tenhover" userId="ae2cf505-6387-4cc4-9e8f-d6c2096d9cc9" providerId="ADAL" clId="{090A8C7D-C9CF-40B4-A561-FFCC7FA99627}" dt="2025-03-17T23:59:33.544" v="2602" actId="1076"/>
        <pc:sldMkLst>
          <pc:docMk/>
          <pc:sldMk cId="2835311434" sldId="295"/>
        </pc:sldMkLst>
        <pc:spChg chg="del">
          <ac:chgData name="Courtney Tenhover" userId="ae2cf505-6387-4cc4-9e8f-d6c2096d9cc9" providerId="ADAL" clId="{090A8C7D-C9CF-40B4-A561-FFCC7FA99627}" dt="2025-03-17T21:02:55.364" v="232" actId="478"/>
          <ac:spMkLst>
            <pc:docMk/>
            <pc:sldMk cId="2835311434" sldId="295"/>
            <ac:spMk id="27" creationId="{00000000-0000-0000-0000-000000000000}"/>
          </ac:spMkLst>
        </pc:spChg>
        <pc:spChg chg="mod">
          <ac:chgData name="Courtney Tenhover" userId="ae2cf505-6387-4cc4-9e8f-d6c2096d9cc9" providerId="ADAL" clId="{090A8C7D-C9CF-40B4-A561-FFCC7FA99627}" dt="2025-03-17T23:59:27.401" v="2601" actId="6549"/>
          <ac:spMkLst>
            <pc:docMk/>
            <pc:sldMk cId="2835311434" sldId="295"/>
            <ac:spMk id="30" creationId="{00000000-0000-0000-0000-000000000000}"/>
          </ac:spMkLst>
        </pc:spChg>
        <pc:grpChg chg="mod">
          <ac:chgData name="Courtney Tenhover" userId="ae2cf505-6387-4cc4-9e8f-d6c2096d9cc9" providerId="ADAL" clId="{090A8C7D-C9CF-40B4-A561-FFCC7FA99627}" dt="2025-03-17T21:03:57.459" v="238" actId="1076"/>
          <ac:grpSpMkLst>
            <pc:docMk/>
            <pc:sldMk cId="2835311434" sldId="295"/>
            <ac:grpSpMk id="10" creationId="{00000000-0000-0000-0000-000000000000}"/>
          </ac:grpSpMkLst>
        </pc:grpChg>
        <pc:picChg chg="mod">
          <ac:chgData name="Courtney Tenhover" userId="ae2cf505-6387-4cc4-9e8f-d6c2096d9cc9" providerId="ADAL" clId="{090A8C7D-C9CF-40B4-A561-FFCC7FA99627}" dt="2025-03-17T23:59:33.544" v="2602" actId="1076"/>
          <ac:picMkLst>
            <pc:docMk/>
            <pc:sldMk cId="2835311434" sldId="295"/>
            <ac:picMk id="29" creationId="{20D19F3C-A2CC-40EA-BD1B-06E287B4C40D}"/>
          </ac:picMkLst>
        </pc:picChg>
      </pc:sldChg>
      <pc:sldChg chg="del">
        <pc:chgData name="Courtney Tenhover" userId="ae2cf505-6387-4cc4-9e8f-d6c2096d9cc9" providerId="ADAL" clId="{090A8C7D-C9CF-40B4-A561-FFCC7FA99627}" dt="2025-03-17T20:50:34.754" v="186" actId="2696"/>
        <pc:sldMkLst>
          <pc:docMk/>
          <pc:sldMk cId="338131953" sldId="296"/>
        </pc:sldMkLst>
      </pc:sldChg>
      <pc:sldChg chg="del">
        <pc:chgData name="Courtney Tenhover" userId="ae2cf505-6387-4cc4-9e8f-d6c2096d9cc9" providerId="ADAL" clId="{090A8C7D-C9CF-40B4-A561-FFCC7FA99627}" dt="2025-03-17T21:02:36.478" v="231" actId="47"/>
        <pc:sldMkLst>
          <pc:docMk/>
          <pc:sldMk cId="4160541621" sldId="300"/>
        </pc:sldMkLst>
      </pc:sldChg>
      <pc:sldChg chg="addSp delSp modSp add del mod">
        <pc:chgData name="Courtney Tenhover" userId="ae2cf505-6387-4cc4-9e8f-d6c2096d9cc9" providerId="ADAL" clId="{090A8C7D-C9CF-40B4-A561-FFCC7FA99627}" dt="2025-03-17T23:02:15.181" v="779" actId="14100"/>
        <pc:sldMkLst>
          <pc:docMk/>
          <pc:sldMk cId="2263598897" sldId="302"/>
        </pc:sldMkLst>
        <pc:spChg chg="del mod">
          <ac:chgData name="Courtney Tenhover" userId="ae2cf505-6387-4cc4-9e8f-d6c2096d9cc9" providerId="ADAL" clId="{090A8C7D-C9CF-40B4-A561-FFCC7FA99627}" dt="2025-03-17T23:00:37.075" v="734" actId="478"/>
          <ac:spMkLst>
            <pc:docMk/>
            <pc:sldMk cId="2263598897" sldId="302"/>
            <ac:spMk id="3" creationId="{0395D484-5D5E-9B98-0FBA-EE50AB2978A9}"/>
          </ac:spMkLst>
        </pc:spChg>
        <pc:spChg chg="del">
          <ac:chgData name="Courtney Tenhover" userId="ae2cf505-6387-4cc4-9e8f-d6c2096d9cc9" providerId="ADAL" clId="{090A8C7D-C9CF-40B4-A561-FFCC7FA99627}" dt="2025-03-17T21:05:31.775" v="251" actId="478"/>
          <ac:spMkLst>
            <pc:docMk/>
            <pc:sldMk cId="2263598897" sldId="302"/>
            <ac:spMk id="6" creationId="{31FEA6E3-EE2F-408B-BFFB-6E4E2F1277D5}"/>
          </ac:spMkLst>
        </pc:spChg>
        <pc:spChg chg="add del mod">
          <ac:chgData name="Courtney Tenhover" userId="ae2cf505-6387-4cc4-9e8f-d6c2096d9cc9" providerId="ADAL" clId="{090A8C7D-C9CF-40B4-A561-FFCC7FA99627}" dt="2025-03-17T21:06:17.341" v="269"/>
          <ac:spMkLst>
            <pc:docMk/>
            <pc:sldMk cId="2263598897" sldId="302"/>
            <ac:spMk id="8" creationId="{28783CF6-F27D-4434-BBDD-2B5AE93F16E0}"/>
          </ac:spMkLst>
        </pc:spChg>
        <pc:spChg chg="add mod">
          <ac:chgData name="Courtney Tenhover" userId="ae2cf505-6387-4cc4-9e8f-d6c2096d9cc9" providerId="ADAL" clId="{090A8C7D-C9CF-40B4-A561-FFCC7FA99627}" dt="2025-03-17T23:02:06.922" v="772" actId="1076"/>
          <ac:spMkLst>
            <pc:docMk/>
            <pc:sldMk cId="2263598897" sldId="302"/>
            <ac:spMk id="13" creationId="{FBDEAA15-DC74-4B9A-8603-1E99ED4285B6}"/>
          </ac:spMkLst>
        </pc:spChg>
        <pc:spChg chg="add mod">
          <ac:chgData name="Courtney Tenhover" userId="ae2cf505-6387-4cc4-9e8f-d6c2096d9cc9" providerId="ADAL" clId="{090A8C7D-C9CF-40B4-A561-FFCC7FA99627}" dt="2025-03-17T23:02:15.181" v="779" actId="14100"/>
          <ac:spMkLst>
            <pc:docMk/>
            <pc:sldMk cId="2263598897" sldId="302"/>
            <ac:spMk id="14" creationId="{C64DFAB3-9506-4A9F-BBD3-A2C60F30420A}"/>
          </ac:spMkLst>
        </pc:spChg>
        <pc:spChg chg="add mod">
          <ac:chgData name="Courtney Tenhover" userId="ae2cf505-6387-4cc4-9e8f-d6c2096d9cc9" providerId="ADAL" clId="{090A8C7D-C9CF-40B4-A561-FFCC7FA99627}" dt="2025-03-17T22:57:56.594" v="631" actId="113"/>
          <ac:spMkLst>
            <pc:docMk/>
            <pc:sldMk cId="2263598897" sldId="302"/>
            <ac:spMk id="15" creationId="{1F96C785-DB67-42A3-977C-7C7AF4E75DB3}"/>
          </ac:spMkLst>
        </pc:spChg>
        <pc:spChg chg="add del">
          <ac:chgData name="Courtney Tenhover" userId="ae2cf505-6387-4cc4-9e8f-d6c2096d9cc9" providerId="ADAL" clId="{090A8C7D-C9CF-40B4-A561-FFCC7FA99627}" dt="2025-03-17T22:58:29.042" v="641" actId="478"/>
          <ac:spMkLst>
            <pc:docMk/>
            <pc:sldMk cId="2263598897" sldId="302"/>
            <ac:spMk id="34" creationId="{F0B685C4-30E6-4A72-9A45-63B6C3F7E4EB}"/>
          </ac:spMkLst>
        </pc:spChg>
        <pc:spChg chg="del">
          <ac:chgData name="Courtney Tenhover" userId="ae2cf505-6387-4cc4-9e8f-d6c2096d9cc9" providerId="ADAL" clId="{090A8C7D-C9CF-40B4-A561-FFCC7FA99627}" dt="2025-03-17T21:05:48.913" v="256" actId="478"/>
          <ac:spMkLst>
            <pc:docMk/>
            <pc:sldMk cId="2263598897" sldId="302"/>
            <ac:spMk id="35" creationId="{00000000-0000-0000-0000-000000000000}"/>
          </ac:spMkLst>
        </pc:spChg>
        <pc:spChg chg="add mod">
          <ac:chgData name="Courtney Tenhover" userId="ae2cf505-6387-4cc4-9e8f-d6c2096d9cc9" providerId="ADAL" clId="{090A8C7D-C9CF-40B4-A561-FFCC7FA99627}" dt="2025-03-17T23:00:25.891" v="732" actId="207"/>
          <ac:spMkLst>
            <pc:docMk/>
            <pc:sldMk cId="2263598897" sldId="302"/>
            <ac:spMk id="36" creationId="{3AAAA20B-B4E2-4F32-81AF-D65D8916F1D2}"/>
          </ac:spMkLst>
        </pc:spChg>
        <pc:spChg chg="del">
          <ac:chgData name="Courtney Tenhover" userId="ae2cf505-6387-4cc4-9e8f-d6c2096d9cc9" providerId="ADAL" clId="{090A8C7D-C9CF-40B4-A561-FFCC7FA99627}" dt="2025-03-17T21:05:50.626" v="257" actId="478"/>
          <ac:spMkLst>
            <pc:docMk/>
            <pc:sldMk cId="2263598897" sldId="302"/>
            <ac:spMk id="43" creationId="{00000000-0000-0000-0000-000000000000}"/>
          </ac:spMkLst>
        </pc:spChg>
        <pc:spChg chg="del mod">
          <ac:chgData name="Courtney Tenhover" userId="ae2cf505-6387-4cc4-9e8f-d6c2096d9cc9" providerId="ADAL" clId="{090A8C7D-C9CF-40B4-A561-FFCC7FA99627}" dt="2025-03-17T21:05:51.991" v="260" actId="478"/>
          <ac:spMkLst>
            <pc:docMk/>
            <pc:sldMk cId="2263598897" sldId="302"/>
            <ac:spMk id="44" creationId="{00000000-0000-0000-0000-000000000000}"/>
          </ac:spMkLst>
        </pc:spChg>
        <pc:spChg chg="del">
          <ac:chgData name="Courtney Tenhover" userId="ae2cf505-6387-4cc4-9e8f-d6c2096d9cc9" providerId="ADAL" clId="{090A8C7D-C9CF-40B4-A561-FFCC7FA99627}" dt="2025-03-17T21:05:52.744" v="261" actId="478"/>
          <ac:spMkLst>
            <pc:docMk/>
            <pc:sldMk cId="2263598897" sldId="302"/>
            <ac:spMk id="45" creationId="{00000000-0000-0000-0000-000000000000}"/>
          </ac:spMkLst>
        </pc:spChg>
        <pc:spChg chg="mod">
          <ac:chgData name="Courtney Tenhover" userId="ae2cf505-6387-4cc4-9e8f-d6c2096d9cc9" providerId="ADAL" clId="{090A8C7D-C9CF-40B4-A561-FFCC7FA99627}" dt="2025-03-17T23:02:11.933" v="778" actId="1035"/>
          <ac:spMkLst>
            <pc:docMk/>
            <pc:sldMk cId="2263598897" sldId="302"/>
            <ac:spMk id="46" creationId="{00000000-0000-0000-0000-000000000000}"/>
          </ac:spMkLst>
        </pc:spChg>
        <pc:spChg chg="mod">
          <ac:chgData name="Courtney Tenhover" userId="ae2cf505-6387-4cc4-9e8f-d6c2096d9cc9" providerId="ADAL" clId="{090A8C7D-C9CF-40B4-A561-FFCC7FA99627}" dt="2025-03-17T23:02:11.933" v="778" actId="1035"/>
          <ac:spMkLst>
            <pc:docMk/>
            <pc:sldMk cId="2263598897" sldId="302"/>
            <ac:spMk id="47" creationId="{00000000-0000-0000-0000-000000000000}"/>
          </ac:spMkLst>
        </pc:spChg>
        <pc:spChg chg="mod">
          <ac:chgData name="Courtney Tenhover" userId="ae2cf505-6387-4cc4-9e8f-d6c2096d9cc9" providerId="ADAL" clId="{090A8C7D-C9CF-40B4-A561-FFCC7FA99627}" dt="2025-03-17T22:58:33.845" v="642"/>
          <ac:spMkLst>
            <pc:docMk/>
            <pc:sldMk cId="2263598897" sldId="302"/>
            <ac:spMk id="49" creationId="{E30C0173-9D62-40EA-9189-BF534FB57623}"/>
          </ac:spMkLst>
        </pc:spChg>
        <pc:spChg chg="mod">
          <ac:chgData name="Courtney Tenhover" userId="ae2cf505-6387-4cc4-9e8f-d6c2096d9cc9" providerId="ADAL" clId="{090A8C7D-C9CF-40B4-A561-FFCC7FA99627}" dt="2025-03-17T22:58:33.845" v="642"/>
          <ac:spMkLst>
            <pc:docMk/>
            <pc:sldMk cId="2263598897" sldId="302"/>
            <ac:spMk id="50" creationId="{A2DD3FC3-338D-478E-AEB6-D5196D255E1A}"/>
          </ac:spMkLst>
        </pc:spChg>
        <pc:spChg chg="add mod">
          <ac:chgData name="Courtney Tenhover" userId="ae2cf505-6387-4cc4-9e8f-d6c2096d9cc9" providerId="ADAL" clId="{090A8C7D-C9CF-40B4-A561-FFCC7FA99627}" dt="2025-03-17T22:58:49.971" v="647" actId="1076"/>
          <ac:spMkLst>
            <pc:docMk/>
            <pc:sldMk cId="2263598897" sldId="302"/>
            <ac:spMk id="51" creationId="{0F29C125-2770-4F23-8BAE-55A6F66BA9C9}"/>
          </ac:spMkLst>
        </pc:spChg>
        <pc:grpChg chg="del">
          <ac:chgData name="Courtney Tenhover" userId="ae2cf505-6387-4cc4-9e8f-d6c2096d9cc9" providerId="ADAL" clId="{090A8C7D-C9CF-40B4-A561-FFCC7FA99627}" dt="2025-03-17T21:05:53.192" v="262" actId="478"/>
          <ac:grpSpMkLst>
            <pc:docMk/>
            <pc:sldMk cId="2263598897" sldId="302"/>
            <ac:grpSpMk id="20" creationId="{00000000-0000-0000-0000-000000000000}"/>
          </ac:grpSpMkLst>
        </pc:grpChg>
        <pc:grpChg chg="del">
          <ac:chgData name="Courtney Tenhover" userId="ae2cf505-6387-4cc4-9e8f-d6c2096d9cc9" providerId="ADAL" clId="{090A8C7D-C9CF-40B4-A561-FFCC7FA99627}" dt="2025-03-17T21:05:51.524" v="258" actId="478"/>
          <ac:grpSpMkLst>
            <pc:docMk/>
            <pc:sldMk cId="2263598897" sldId="302"/>
            <ac:grpSpMk id="23" creationId="{00000000-0000-0000-0000-000000000000}"/>
          </ac:grpSpMkLst>
        </pc:grpChg>
        <pc:grpChg chg="del">
          <ac:chgData name="Courtney Tenhover" userId="ae2cf505-6387-4cc4-9e8f-d6c2096d9cc9" providerId="ADAL" clId="{090A8C7D-C9CF-40B4-A561-FFCC7FA99627}" dt="2025-03-17T21:07:11.302" v="281" actId="478"/>
          <ac:grpSpMkLst>
            <pc:docMk/>
            <pc:sldMk cId="2263598897" sldId="302"/>
            <ac:grpSpMk id="26" creationId="{00000000-0000-0000-0000-000000000000}"/>
          </ac:grpSpMkLst>
        </pc:grpChg>
        <pc:grpChg chg="del">
          <ac:chgData name="Courtney Tenhover" userId="ae2cf505-6387-4cc4-9e8f-d6c2096d9cc9" providerId="ADAL" clId="{090A8C7D-C9CF-40B4-A561-FFCC7FA99627}" dt="2025-03-17T21:07:11.850" v="282" actId="478"/>
          <ac:grpSpMkLst>
            <pc:docMk/>
            <pc:sldMk cId="2263598897" sldId="302"/>
            <ac:grpSpMk id="29" creationId="{00000000-0000-0000-0000-000000000000}"/>
          </ac:grpSpMkLst>
        </pc:grpChg>
        <pc:grpChg chg="add mod">
          <ac:chgData name="Courtney Tenhover" userId="ae2cf505-6387-4cc4-9e8f-d6c2096d9cc9" providerId="ADAL" clId="{090A8C7D-C9CF-40B4-A561-FFCC7FA99627}" dt="2025-03-17T22:59:03.733" v="662" actId="1037"/>
          <ac:grpSpMkLst>
            <pc:docMk/>
            <pc:sldMk cId="2263598897" sldId="302"/>
            <ac:grpSpMk id="48" creationId="{F7E04E23-82BF-41D5-8ABF-13513A7742F0}"/>
          </ac:grpSpMkLst>
        </pc:grpChg>
        <pc:graphicFrameChg chg="add del mod">
          <ac:chgData name="Courtney Tenhover" userId="ae2cf505-6387-4cc4-9e8f-d6c2096d9cc9" providerId="ADAL" clId="{090A8C7D-C9CF-40B4-A561-FFCC7FA99627}" dt="2025-03-17T21:06:17.339" v="267"/>
          <ac:graphicFrameMkLst>
            <pc:docMk/>
            <pc:sldMk cId="2263598897" sldId="302"/>
            <ac:graphicFrameMk id="9" creationId="{E6FAA2A7-CD46-4E34-8B07-7B2D4627FCFE}"/>
          </ac:graphicFrameMkLst>
        </pc:graphicFrameChg>
        <pc:graphicFrameChg chg="add del mod">
          <ac:chgData name="Courtney Tenhover" userId="ae2cf505-6387-4cc4-9e8f-d6c2096d9cc9" providerId="ADAL" clId="{090A8C7D-C9CF-40B4-A561-FFCC7FA99627}" dt="2025-03-17T21:06:21.704" v="271"/>
          <ac:graphicFrameMkLst>
            <pc:docMk/>
            <pc:sldMk cId="2263598897" sldId="302"/>
            <ac:graphicFrameMk id="11" creationId="{409A0A4B-3A54-4733-8167-2B687FE76271}"/>
          </ac:graphicFrameMkLst>
        </pc:graphicFrameChg>
        <pc:graphicFrameChg chg="add del mod">
          <ac:chgData name="Courtney Tenhover" userId="ae2cf505-6387-4cc4-9e8f-d6c2096d9cc9" providerId="ADAL" clId="{090A8C7D-C9CF-40B4-A561-FFCC7FA99627}" dt="2025-03-17T21:06:30.490" v="274" actId="478"/>
          <ac:graphicFrameMkLst>
            <pc:docMk/>
            <pc:sldMk cId="2263598897" sldId="302"/>
            <ac:graphicFrameMk id="12" creationId="{4C3B8D86-44DA-4C68-B3D7-BDF028C67669}"/>
          </ac:graphicFrameMkLst>
        </pc:graphicFrameChg>
        <pc:picChg chg="del mod">
          <ac:chgData name="Courtney Tenhover" userId="ae2cf505-6387-4cc4-9e8f-d6c2096d9cc9" providerId="ADAL" clId="{090A8C7D-C9CF-40B4-A561-FFCC7FA99627}" dt="2025-03-17T23:00:33.236" v="733" actId="478"/>
          <ac:picMkLst>
            <pc:docMk/>
            <pc:sldMk cId="2263598897" sldId="302"/>
            <ac:picMk id="2" creationId="{D5D089DA-AD9A-4BD1-D44A-45CA67AFD893}"/>
          </ac:picMkLst>
        </pc:picChg>
        <pc:picChg chg="add del mod modCrop">
          <ac:chgData name="Courtney Tenhover" userId="ae2cf505-6387-4cc4-9e8f-d6c2096d9cc9" providerId="ADAL" clId="{090A8C7D-C9CF-40B4-A561-FFCC7FA99627}" dt="2025-03-17T22:53:45.284" v="368" actId="478"/>
          <ac:picMkLst>
            <pc:docMk/>
            <pc:sldMk cId="2263598897" sldId="302"/>
            <ac:picMk id="5" creationId="{5C143568-7CBE-4D9F-BE7A-892F65EC9BB8}"/>
          </ac:picMkLst>
        </pc:picChg>
        <pc:picChg chg="del">
          <ac:chgData name="Courtney Tenhover" userId="ae2cf505-6387-4cc4-9e8f-d6c2096d9cc9" providerId="ADAL" clId="{090A8C7D-C9CF-40B4-A561-FFCC7FA99627}" dt="2025-03-17T21:05:19.574" v="245" actId="478"/>
          <ac:picMkLst>
            <pc:docMk/>
            <pc:sldMk cId="2263598897" sldId="302"/>
            <ac:picMk id="7" creationId="{876CD31F-A742-4560-A647-01A602E58844}"/>
          </ac:picMkLst>
        </pc:picChg>
        <pc:picChg chg="del">
          <ac:chgData name="Courtney Tenhover" userId="ae2cf505-6387-4cc4-9e8f-d6c2096d9cc9" providerId="ADAL" clId="{090A8C7D-C9CF-40B4-A561-FFCC7FA99627}" dt="2025-03-17T21:05:18.729" v="244" actId="478"/>
          <ac:picMkLst>
            <pc:docMk/>
            <pc:sldMk cId="2263598897" sldId="302"/>
            <ac:picMk id="10" creationId="{3C51B969-0CD5-4BE0-969D-0BD116920AD5}"/>
          </ac:picMkLst>
        </pc:picChg>
        <pc:picChg chg="add mod">
          <ac:chgData name="Courtney Tenhover" userId="ae2cf505-6387-4cc4-9e8f-d6c2096d9cc9" providerId="ADAL" clId="{090A8C7D-C9CF-40B4-A561-FFCC7FA99627}" dt="2025-03-17T23:01:52.651" v="766" actId="1076"/>
          <ac:picMkLst>
            <pc:docMk/>
            <pc:sldMk cId="2263598897" sldId="302"/>
            <ac:picMk id="17" creationId="{DE1A10C3-2906-4433-8892-CEE21EDFEAE1}"/>
          </ac:picMkLst>
        </pc:picChg>
        <pc:picChg chg="mod">
          <ac:chgData name="Courtney Tenhover" userId="ae2cf505-6387-4cc4-9e8f-d6c2096d9cc9" providerId="ADAL" clId="{090A8C7D-C9CF-40B4-A561-FFCC7FA99627}" dt="2025-03-17T23:02:02.717" v="771" actId="1076"/>
          <ac:picMkLst>
            <pc:docMk/>
            <pc:sldMk cId="2263598897" sldId="302"/>
            <ac:picMk id="54" creationId="{3067D24A-1042-4329-83B8-3078934EFA11}"/>
          </ac:picMkLst>
        </pc:picChg>
        <pc:picChg chg="add del mod">
          <ac:chgData name="Courtney Tenhover" userId="ae2cf505-6387-4cc4-9e8f-d6c2096d9cc9" providerId="ADAL" clId="{090A8C7D-C9CF-40B4-A561-FFCC7FA99627}" dt="2025-03-17T21:06:17.339" v="267"/>
          <ac:picMkLst>
            <pc:docMk/>
            <pc:sldMk cId="2263598897" sldId="302"/>
            <ac:picMk id="2049" creationId="{086B3AA0-1C57-45AF-AF4E-EBFC7F77CE5D}"/>
          </ac:picMkLst>
        </pc:picChg>
        <pc:picChg chg="add del mod">
          <ac:chgData name="Courtney Tenhover" userId="ae2cf505-6387-4cc4-9e8f-d6c2096d9cc9" providerId="ADAL" clId="{090A8C7D-C9CF-40B4-A561-FFCC7FA99627}" dt="2025-03-17T21:06:21.704" v="271"/>
          <ac:picMkLst>
            <pc:docMk/>
            <pc:sldMk cId="2263598897" sldId="302"/>
            <ac:picMk id="2050" creationId="{0A663042-15F1-46A7-9A3B-2E714BC145E9}"/>
          </ac:picMkLst>
        </pc:picChg>
        <pc:picChg chg="add del mod">
          <ac:chgData name="Courtney Tenhover" userId="ae2cf505-6387-4cc4-9e8f-d6c2096d9cc9" providerId="ADAL" clId="{090A8C7D-C9CF-40B4-A561-FFCC7FA99627}" dt="2025-03-17T21:06:30.490" v="274" actId="478"/>
          <ac:picMkLst>
            <pc:docMk/>
            <pc:sldMk cId="2263598897" sldId="302"/>
            <ac:picMk id="2051" creationId="{4D77B0B6-7AF6-4612-A5F7-7A175335BC29}"/>
          </ac:picMkLst>
        </pc:picChg>
        <pc:cxnChg chg="add mod">
          <ac:chgData name="Courtney Tenhover" userId="ae2cf505-6387-4cc4-9e8f-d6c2096d9cc9" providerId="ADAL" clId="{090A8C7D-C9CF-40B4-A561-FFCC7FA99627}" dt="2025-03-17T22:59:42.901" v="698" actId="1036"/>
          <ac:cxnSpMkLst>
            <pc:docMk/>
            <pc:sldMk cId="2263598897" sldId="302"/>
            <ac:cxnSpMk id="19" creationId="{7FE0914E-86FE-46D2-BFD2-D3664C568426}"/>
          </ac:cxnSpMkLst>
        </pc:cxnChg>
      </pc:sldChg>
      <pc:sldChg chg="del">
        <pc:chgData name="Courtney Tenhover" userId="ae2cf505-6387-4cc4-9e8f-d6c2096d9cc9" providerId="ADAL" clId="{090A8C7D-C9CF-40B4-A561-FFCC7FA99627}" dt="2025-03-17T20:51:04.381" v="187" actId="47"/>
        <pc:sldMkLst>
          <pc:docMk/>
          <pc:sldMk cId="2189396226" sldId="426"/>
        </pc:sldMkLst>
      </pc:sldChg>
      <pc:sldChg chg="del">
        <pc:chgData name="Courtney Tenhover" userId="ae2cf505-6387-4cc4-9e8f-d6c2096d9cc9" providerId="ADAL" clId="{090A8C7D-C9CF-40B4-A561-FFCC7FA99627}" dt="2025-03-17T20:51:04.381" v="187" actId="47"/>
        <pc:sldMkLst>
          <pc:docMk/>
          <pc:sldMk cId="1386972481" sldId="505"/>
        </pc:sldMkLst>
      </pc:sldChg>
      <pc:sldChg chg="del">
        <pc:chgData name="Courtney Tenhover" userId="ae2cf505-6387-4cc4-9e8f-d6c2096d9cc9" providerId="ADAL" clId="{090A8C7D-C9CF-40B4-A561-FFCC7FA99627}" dt="2025-03-17T20:51:04.381" v="187" actId="47"/>
        <pc:sldMkLst>
          <pc:docMk/>
          <pc:sldMk cId="1536137677" sldId="506"/>
        </pc:sldMkLst>
      </pc:sldChg>
      <pc:sldChg chg="del">
        <pc:chgData name="Courtney Tenhover" userId="ae2cf505-6387-4cc4-9e8f-d6c2096d9cc9" providerId="ADAL" clId="{090A8C7D-C9CF-40B4-A561-FFCC7FA99627}" dt="2025-03-17T20:51:04.381" v="187" actId="47"/>
        <pc:sldMkLst>
          <pc:docMk/>
          <pc:sldMk cId="1222072992" sldId="507"/>
        </pc:sldMkLst>
      </pc:sldChg>
      <pc:sldChg chg="del">
        <pc:chgData name="Courtney Tenhover" userId="ae2cf505-6387-4cc4-9e8f-d6c2096d9cc9" providerId="ADAL" clId="{090A8C7D-C9CF-40B4-A561-FFCC7FA99627}" dt="2025-03-17T20:51:04.381" v="187" actId="47"/>
        <pc:sldMkLst>
          <pc:docMk/>
          <pc:sldMk cId="297333881" sldId="508"/>
        </pc:sldMkLst>
      </pc:sldChg>
      <pc:sldChg chg="del">
        <pc:chgData name="Courtney Tenhover" userId="ae2cf505-6387-4cc4-9e8f-d6c2096d9cc9" providerId="ADAL" clId="{090A8C7D-C9CF-40B4-A561-FFCC7FA99627}" dt="2025-03-17T20:51:04.381" v="187" actId="47"/>
        <pc:sldMkLst>
          <pc:docMk/>
          <pc:sldMk cId="2095703642" sldId="509"/>
        </pc:sldMkLst>
      </pc:sldChg>
      <pc:sldChg chg="addSp modSp mod">
        <pc:chgData name="Courtney Tenhover" userId="ae2cf505-6387-4cc4-9e8f-d6c2096d9cc9" providerId="ADAL" clId="{090A8C7D-C9CF-40B4-A561-FFCC7FA99627}" dt="2025-03-17T23:17:13.743" v="1575" actId="20577"/>
        <pc:sldMkLst>
          <pc:docMk/>
          <pc:sldMk cId="2320850437" sldId="510"/>
        </pc:sldMkLst>
        <pc:spChg chg="add mod">
          <ac:chgData name="Courtney Tenhover" userId="ae2cf505-6387-4cc4-9e8f-d6c2096d9cc9" providerId="ADAL" clId="{090A8C7D-C9CF-40B4-A561-FFCC7FA99627}" dt="2025-03-17T23:17:13.743" v="1575" actId="20577"/>
          <ac:spMkLst>
            <pc:docMk/>
            <pc:sldMk cId="2320850437" sldId="510"/>
            <ac:spMk id="3" creationId="{A4DA0E22-2F67-440C-A3DB-52CD6115A5BC}"/>
          </ac:spMkLst>
        </pc:spChg>
        <pc:spChg chg="mod">
          <ac:chgData name="Courtney Tenhover" userId="ae2cf505-6387-4cc4-9e8f-d6c2096d9cc9" providerId="ADAL" clId="{090A8C7D-C9CF-40B4-A561-FFCC7FA99627}" dt="2025-03-17T23:17:02.499" v="1570" actId="122"/>
          <ac:spMkLst>
            <pc:docMk/>
            <pc:sldMk cId="2320850437" sldId="510"/>
            <ac:spMk id="8" creationId="{7D5855B0-C4B5-487B-8555-94B567121885}"/>
          </ac:spMkLst>
        </pc:spChg>
        <pc:picChg chg="mod">
          <ac:chgData name="Courtney Tenhover" userId="ae2cf505-6387-4cc4-9e8f-d6c2096d9cc9" providerId="ADAL" clId="{090A8C7D-C9CF-40B4-A561-FFCC7FA99627}" dt="2025-03-17T23:16:58.422" v="1568" actId="1076"/>
          <ac:picMkLst>
            <pc:docMk/>
            <pc:sldMk cId="2320850437" sldId="510"/>
            <ac:picMk id="36" creationId="{E4C689E3-9A9A-4E68-813E-7E223B3E8E16}"/>
          </ac:picMkLst>
        </pc:picChg>
      </pc:sldChg>
      <pc:sldChg chg="addSp modSp mod ord">
        <pc:chgData name="Courtney Tenhover" userId="ae2cf505-6387-4cc4-9e8f-d6c2096d9cc9" providerId="ADAL" clId="{090A8C7D-C9CF-40B4-A561-FFCC7FA99627}" dt="2025-03-17T23:18:46.241" v="1595" actId="688"/>
        <pc:sldMkLst>
          <pc:docMk/>
          <pc:sldMk cId="487731204" sldId="511"/>
        </pc:sldMkLst>
        <pc:spChg chg="add mod">
          <ac:chgData name="Courtney Tenhover" userId="ae2cf505-6387-4cc4-9e8f-d6c2096d9cc9" providerId="ADAL" clId="{090A8C7D-C9CF-40B4-A561-FFCC7FA99627}" dt="2025-03-17T23:15:51.259" v="1510" actId="1076"/>
          <ac:spMkLst>
            <pc:docMk/>
            <pc:sldMk cId="487731204" sldId="511"/>
            <ac:spMk id="3" creationId="{C8A4D849-38AF-4296-8391-A613736E52AF}"/>
          </ac:spMkLst>
        </pc:spChg>
        <pc:spChg chg="mod">
          <ac:chgData name="Courtney Tenhover" userId="ae2cf505-6387-4cc4-9e8f-d6c2096d9cc9" providerId="ADAL" clId="{090A8C7D-C9CF-40B4-A561-FFCC7FA99627}" dt="2025-03-17T23:12:24.118" v="1358" actId="207"/>
          <ac:spMkLst>
            <pc:docMk/>
            <pc:sldMk cId="487731204" sldId="511"/>
            <ac:spMk id="4" creationId="{EE45EC23-B441-4ED5-9A02-A2F17865FDA4}"/>
          </ac:spMkLst>
        </pc:spChg>
        <pc:spChg chg="add mod">
          <ac:chgData name="Courtney Tenhover" userId="ae2cf505-6387-4cc4-9e8f-d6c2096d9cc9" providerId="ADAL" clId="{090A8C7D-C9CF-40B4-A561-FFCC7FA99627}" dt="2025-03-17T23:16:09.178" v="1519" actId="1076"/>
          <ac:spMkLst>
            <pc:docMk/>
            <pc:sldMk cId="487731204" sldId="511"/>
            <ac:spMk id="5" creationId="{D126636C-4A13-41E6-BD75-0948818278E0}"/>
          </ac:spMkLst>
        </pc:spChg>
        <pc:picChg chg="add mod">
          <ac:chgData name="Courtney Tenhover" userId="ae2cf505-6387-4cc4-9e8f-d6c2096d9cc9" providerId="ADAL" clId="{090A8C7D-C9CF-40B4-A561-FFCC7FA99627}" dt="2025-03-17T23:18:46.241" v="1595" actId="688"/>
          <ac:picMkLst>
            <pc:docMk/>
            <pc:sldMk cId="487731204" sldId="511"/>
            <ac:picMk id="32" creationId="{4B63A218-6C2B-44E8-94D9-8B317D73C33F}"/>
          </ac:picMkLst>
        </pc:picChg>
        <pc:picChg chg="mod">
          <ac:chgData name="Courtney Tenhover" userId="ae2cf505-6387-4cc4-9e8f-d6c2096d9cc9" providerId="ADAL" clId="{090A8C7D-C9CF-40B4-A561-FFCC7FA99627}" dt="2025-03-17T23:09:13.896" v="1018" actId="1076"/>
          <ac:picMkLst>
            <pc:docMk/>
            <pc:sldMk cId="487731204" sldId="511"/>
            <ac:picMk id="54" creationId="{3067D24A-1042-4329-83B8-3078934EFA11}"/>
          </ac:picMkLst>
        </pc:picChg>
      </pc:sldChg>
      <pc:sldChg chg="del">
        <pc:chgData name="Courtney Tenhover" userId="ae2cf505-6387-4cc4-9e8f-d6c2096d9cc9" providerId="ADAL" clId="{090A8C7D-C9CF-40B4-A561-FFCC7FA99627}" dt="2025-03-17T21:02:31.340" v="228" actId="47"/>
        <pc:sldMkLst>
          <pc:docMk/>
          <pc:sldMk cId="116752355" sldId="512"/>
        </pc:sldMkLst>
      </pc:sldChg>
      <pc:sldChg chg="addSp delSp modSp add del mod ord">
        <pc:chgData name="Courtney Tenhover" userId="ae2cf505-6387-4cc4-9e8f-d6c2096d9cc9" providerId="ADAL" clId="{090A8C7D-C9CF-40B4-A561-FFCC7FA99627}" dt="2025-03-17T23:06:16.224" v="1017" actId="2696"/>
        <pc:sldMkLst>
          <pc:docMk/>
          <pc:sldMk cId="686728943" sldId="512"/>
        </pc:sldMkLst>
        <pc:spChg chg="mod">
          <ac:chgData name="Courtney Tenhover" userId="ae2cf505-6387-4cc4-9e8f-d6c2096d9cc9" providerId="ADAL" clId="{090A8C7D-C9CF-40B4-A561-FFCC7FA99627}" dt="2025-03-17T22:51:47.290" v="321" actId="1076"/>
          <ac:spMkLst>
            <pc:docMk/>
            <pc:sldMk cId="686728943" sldId="512"/>
            <ac:spMk id="3" creationId="{0395D484-5D5E-9B98-0FBA-EE50AB2978A9}"/>
          </ac:spMkLst>
        </pc:spChg>
        <pc:spChg chg="del">
          <ac:chgData name="Courtney Tenhover" userId="ae2cf505-6387-4cc4-9e8f-d6c2096d9cc9" providerId="ADAL" clId="{090A8C7D-C9CF-40B4-A561-FFCC7FA99627}" dt="2025-03-17T22:51:33.382" v="316" actId="478"/>
          <ac:spMkLst>
            <pc:docMk/>
            <pc:sldMk cId="686728943" sldId="512"/>
            <ac:spMk id="13" creationId="{FBDEAA15-DC74-4B9A-8603-1E99ED4285B6}"/>
          </ac:spMkLst>
        </pc:spChg>
        <pc:spChg chg="del">
          <ac:chgData name="Courtney Tenhover" userId="ae2cf505-6387-4cc4-9e8f-d6c2096d9cc9" providerId="ADAL" clId="{090A8C7D-C9CF-40B4-A561-FFCC7FA99627}" dt="2025-03-17T22:51:35.222" v="317" actId="478"/>
          <ac:spMkLst>
            <pc:docMk/>
            <pc:sldMk cId="686728943" sldId="512"/>
            <ac:spMk id="14" creationId="{C64DFAB3-9506-4A9F-BBD3-A2C60F30420A}"/>
          </ac:spMkLst>
        </pc:spChg>
        <pc:spChg chg="mod">
          <ac:chgData name="Courtney Tenhover" userId="ae2cf505-6387-4cc4-9e8f-d6c2096d9cc9" providerId="ADAL" clId="{090A8C7D-C9CF-40B4-A561-FFCC7FA99627}" dt="2025-03-17T22:52:06.609" v="327"/>
          <ac:spMkLst>
            <pc:docMk/>
            <pc:sldMk cId="686728943" sldId="512"/>
            <ac:spMk id="16" creationId="{D81B0557-98C3-4D0E-A4E9-69DBAC0323F1}"/>
          </ac:spMkLst>
        </pc:spChg>
        <pc:spChg chg="mod">
          <ac:chgData name="Courtney Tenhover" userId="ae2cf505-6387-4cc4-9e8f-d6c2096d9cc9" providerId="ADAL" clId="{090A8C7D-C9CF-40B4-A561-FFCC7FA99627}" dt="2025-03-17T22:52:06.609" v="327"/>
          <ac:spMkLst>
            <pc:docMk/>
            <pc:sldMk cId="686728943" sldId="512"/>
            <ac:spMk id="17" creationId="{54B5E7B1-BD9B-4BCA-B635-30B9B4BEA820}"/>
          </ac:spMkLst>
        </pc:spChg>
        <pc:spChg chg="add mod">
          <ac:chgData name="Courtney Tenhover" userId="ae2cf505-6387-4cc4-9e8f-d6c2096d9cc9" providerId="ADAL" clId="{090A8C7D-C9CF-40B4-A561-FFCC7FA99627}" dt="2025-03-17T22:52:21.856" v="341" actId="1076"/>
          <ac:spMkLst>
            <pc:docMk/>
            <pc:sldMk cId="686728943" sldId="512"/>
            <ac:spMk id="18" creationId="{773AA984-031E-43B2-A148-23C389DFA376}"/>
          </ac:spMkLst>
        </pc:spChg>
        <pc:spChg chg="add mod">
          <ac:chgData name="Courtney Tenhover" userId="ae2cf505-6387-4cc4-9e8f-d6c2096d9cc9" providerId="ADAL" clId="{090A8C7D-C9CF-40B4-A561-FFCC7FA99627}" dt="2025-03-17T22:52:16.905" v="339" actId="1076"/>
          <ac:spMkLst>
            <pc:docMk/>
            <pc:sldMk cId="686728943" sldId="512"/>
            <ac:spMk id="19" creationId="{C6A2CAC7-18F6-4E37-889F-CB2BB92ED337}"/>
          </ac:spMkLst>
        </pc:spChg>
        <pc:spChg chg="mod ord">
          <ac:chgData name="Courtney Tenhover" userId="ae2cf505-6387-4cc4-9e8f-d6c2096d9cc9" providerId="ADAL" clId="{090A8C7D-C9CF-40B4-A561-FFCC7FA99627}" dt="2025-03-17T22:52:35.775" v="345" actId="20577"/>
          <ac:spMkLst>
            <pc:docMk/>
            <pc:sldMk cId="686728943" sldId="512"/>
            <ac:spMk id="21" creationId="{6C06361D-13EE-4465-AA27-7CC7CEDF972E}"/>
          </ac:spMkLst>
        </pc:spChg>
        <pc:spChg chg="mod">
          <ac:chgData name="Courtney Tenhover" userId="ae2cf505-6387-4cc4-9e8f-d6c2096d9cc9" providerId="ADAL" clId="{090A8C7D-C9CF-40B4-A561-FFCC7FA99627}" dt="2025-03-17T22:52:28.680" v="342"/>
          <ac:spMkLst>
            <pc:docMk/>
            <pc:sldMk cId="686728943" sldId="512"/>
            <ac:spMk id="22" creationId="{B7697281-64C9-4F05-85C5-2D2F9D8CDC1C}"/>
          </ac:spMkLst>
        </pc:spChg>
        <pc:grpChg chg="add mod">
          <ac:chgData name="Courtney Tenhover" userId="ae2cf505-6387-4cc4-9e8f-d6c2096d9cc9" providerId="ADAL" clId="{090A8C7D-C9CF-40B4-A561-FFCC7FA99627}" dt="2025-03-17T22:52:13.837" v="337" actId="1076"/>
          <ac:grpSpMkLst>
            <pc:docMk/>
            <pc:sldMk cId="686728943" sldId="512"/>
            <ac:grpSpMk id="15" creationId="{B3FFAA3D-7E08-46A2-B244-85A2BC84FAFA}"/>
          </ac:grpSpMkLst>
        </pc:grpChg>
        <pc:grpChg chg="add mod ord">
          <ac:chgData name="Courtney Tenhover" userId="ae2cf505-6387-4cc4-9e8f-d6c2096d9cc9" providerId="ADAL" clId="{090A8C7D-C9CF-40B4-A561-FFCC7FA99627}" dt="2025-03-17T22:52:39.482" v="346" actId="167"/>
          <ac:grpSpMkLst>
            <pc:docMk/>
            <pc:sldMk cId="686728943" sldId="512"/>
            <ac:grpSpMk id="20" creationId="{FE652710-0D2E-4563-97F2-5E2BBF13E5C8}"/>
          </ac:grpSpMkLst>
        </pc:grpChg>
        <pc:picChg chg="mod">
          <ac:chgData name="Courtney Tenhover" userId="ae2cf505-6387-4cc4-9e8f-d6c2096d9cc9" providerId="ADAL" clId="{090A8C7D-C9CF-40B4-A561-FFCC7FA99627}" dt="2025-03-17T22:51:48.473" v="322" actId="1076"/>
          <ac:picMkLst>
            <pc:docMk/>
            <pc:sldMk cId="686728943" sldId="512"/>
            <ac:picMk id="2" creationId="{D5D089DA-AD9A-4BD1-D44A-45CA67AFD893}"/>
          </ac:picMkLst>
        </pc:picChg>
        <pc:picChg chg="del mod">
          <ac:chgData name="Courtney Tenhover" userId="ae2cf505-6387-4cc4-9e8f-d6c2096d9cc9" providerId="ADAL" clId="{090A8C7D-C9CF-40B4-A561-FFCC7FA99627}" dt="2025-03-17T22:51:54.900" v="326" actId="478"/>
          <ac:picMkLst>
            <pc:docMk/>
            <pc:sldMk cId="686728943" sldId="512"/>
            <ac:picMk id="5" creationId="{5C143568-7CBE-4D9F-BE7A-892F65EC9BB8}"/>
          </ac:picMkLst>
        </pc:picChg>
        <pc:picChg chg="add del mod">
          <ac:chgData name="Courtney Tenhover" userId="ae2cf505-6387-4cc4-9e8f-d6c2096d9cc9" providerId="ADAL" clId="{090A8C7D-C9CF-40B4-A561-FFCC7FA99627}" dt="2025-03-17T22:53:07.795" v="350" actId="478"/>
          <ac:picMkLst>
            <pc:docMk/>
            <pc:sldMk cId="686728943" sldId="512"/>
            <ac:picMk id="6" creationId="{2709A41D-506A-4328-9301-374B2D24D83F}"/>
          </ac:picMkLst>
        </pc:picChg>
        <pc:picChg chg="mod">
          <ac:chgData name="Courtney Tenhover" userId="ae2cf505-6387-4cc4-9e8f-d6c2096d9cc9" providerId="ADAL" clId="{090A8C7D-C9CF-40B4-A561-FFCC7FA99627}" dt="2025-03-17T22:51:49.775" v="323" actId="1076"/>
          <ac:picMkLst>
            <pc:docMk/>
            <pc:sldMk cId="686728943" sldId="512"/>
            <ac:picMk id="54" creationId="{3067D24A-1042-4329-83B8-3078934EFA11}"/>
          </ac:picMkLst>
        </pc:picChg>
      </pc:sldChg>
      <pc:sldChg chg="addSp modSp add mod modAnim modNotesTx">
        <pc:chgData name="Courtney Tenhover" userId="ae2cf505-6387-4cc4-9e8f-d6c2096d9cc9" providerId="ADAL" clId="{090A8C7D-C9CF-40B4-A561-FFCC7FA99627}" dt="2025-03-17T23:58:42.073" v="2600" actId="6549"/>
        <pc:sldMkLst>
          <pc:docMk/>
          <pc:sldMk cId="2148807831" sldId="512"/>
        </pc:sldMkLst>
        <pc:spChg chg="mod">
          <ac:chgData name="Courtney Tenhover" userId="ae2cf505-6387-4cc4-9e8f-d6c2096d9cc9" providerId="ADAL" clId="{090A8C7D-C9CF-40B4-A561-FFCC7FA99627}" dt="2025-03-17T23:14:16.109" v="1418" actId="1076"/>
          <ac:spMkLst>
            <pc:docMk/>
            <pc:sldMk cId="2148807831" sldId="512"/>
            <ac:spMk id="2" creationId="{00000000-0000-0000-0000-000000000000}"/>
          </ac:spMkLst>
        </pc:spChg>
        <pc:spChg chg="mod">
          <ac:chgData name="Courtney Tenhover" userId="ae2cf505-6387-4cc4-9e8f-d6c2096d9cc9" providerId="ADAL" clId="{090A8C7D-C9CF-40B4-A561-FFCC7FA99627}" dt="2025-03-17T23:13:49.252" v="1408" actId="1076"/>
          <ac:spMkLst>
            <pc:docMk/>
            <pc:sldMk cId="2148807831" sldId="512"/>
            <ac:spMk id="4" creationId="{EE45EC23-B441-4ED5-9A02-A2F17865FDA4}"/>
          </ac:spMkLst>
        </pc:spChg>
        <pc:spChg chg="add mod">
          <ac:chgData name="Courtney Tenhover" userId="ae2cf505-6387-4cc4-9e8f-d6c2096d9cc9" providerId="ADAL" clId="{090A8C7D-C9CF-40B4-A561-FFCC7FA99627}" dt="2025-03-17T23:13:58.819" v="1411" actId="1076"/>
          <ac:spMkLst>
            <pc:docMk/>
            <pc:sldMk cId="2148807831" sldId="512"/>
            <ac:spMk id="5" creationId="{ECF470C9-6860-4BB6-8F46-42E47DBC3E0C}"/>
          </ac:spMkLst>
        </pc:spChg>
        <pc:spChg chg="add mod">
          <ac:chgData name="Courtney Tenhover" userId="ae2cf505-6387-4cc4-9e8f-d6c2096d9cc9" providerId="ADAL" clId="{090A8C7D-C9CF-40B4-A561-FFCC7FA99627}" dt="2025-03-17T23:14:36.168" v="1420" actId="1076"/>
          <ac:spMkLst>
            <pc:docMk/>
            <pc:sldMk cId="2148807831" sldId="512"/>
            <ac:spMk id="32" creationId="{7FEFB166-4745-4822-A89D-3318D883EEC7}"/>
          </ac:spMkLst>
        </pc:spChg>
        <pc:picChg chg="add mod">
          <ac:chgData name="Courtney Tenhover" userId="ae2cf505-6387-4cc4-9e8f-d6c2096d9cc9" providerId="ADAL" clId="{090A8C7D-C9CF-40B4-A561-FFCC7FA99627}" dt="2025-03-17T23:18:28.646" v="1587" actId="1076"/>
          <ac:picMkLst>
            <pc:docMk/>
            <pc:sldMk cId="2148807831" sldId="512"/>
            <ac:picMk id="7" creationId="{2B7B5EA7-69D2-43D3-9CEA-E5282CF1DD84}"/>
          </ac:picMkLst>
        </pc:picChg>
        <pc:picChg chg="add mod">
          <ac:chgData name="Courtney Tenhover" userId="ae2cf505-6387-4cc4-9e8f-d6c2096d9cc9" providerId="ADAL" clId="{090A8C7D-C9CF-40B4-A561-FFCC7FA99627}" dt="2025-03-17T23:18:36.347" v="1591" actId="1076"/>
          <ac:picMkLst>
            <pc:docMk/>
            <pc:sldMk cId="2148807831" sldId="512"/>
            <ac:picMk id="33" creationId="{A0CE9D45-4052-4F03-8321-2E5ADA0FF321}"/>
          </ac:picMkLst>
        </pc:picChg>
      </pc:sldChg>
      <pc:sldChg chg="del">
        <pc:chgData name="Courtney Tenhover" userId="ae2cf505-6387-4cc4-9e8f-d6c2096d9cc9" providerId="ADAL" clId="{090A8C7D-C9CF-40B4-A561-FFCC7FA99627}" dt="2025-03-17T21:02:32.312" v="229" actId="47"/>
        <pc:sldMkLst>
          <pc:docMk/>
          <pc:sldMk cId="2546110382" sldId="513"/>
        </pc:sldMkLst>
      </pc:sldChg>
      <pc:sldChg chg="del">
        <pc:chgData name="Courtney Tenhover" userId="ae2cf505-6387-4cc4-9e8f-d6c2096d9cc9" providerId="ADAL" clId="{090A8C7D-C9CF-40B4-A561-FFCC7FA99627}" dt="2025-03-17T21:02:34.055" v="230" actId="47"/>
        <pc:sldMkLst>
          <pc:docMk/>
          <pc:sldMk cId="168828910" sldId="514"/>
        </pc:sldMkLst>
      </pc:sldChg>
    </pc:docChg>
  </pc:docChgLst>
  <pc:docChgLst>
    <pc:chgData name="Courtney Tenhover" userId="S::ctenhover@lorainccc.edu::ae2cf505-6387-4cc4-9e8f-d6c2096d9cc9" providerId="AD" clId="Web-{7BCF8552-377E-4F2E-9820-B84EAD6FB1B6}"/>
    <pc:docChg chg="modSld">
      <pc:chgData name="Courtney Tenhover" userId="S::ctenhover@lorainccc.edu::ae2cf505-6387-4cc4-9e8f-d6c2096d9cc9" providerId="AD" clId="Web-{7BCF8552-377E-4F2E-9820-B84EAD6FB1B6}" dt="2025-02-14T19:11:17.899" v="0" actId="1076"/>
      <pc:docMkLst>
        <pc:docMk/>
      </pc:docMkLst>
      <pc:sldChg chg="modSp">
        <pc:chgData name="Courtney Tenhover" userId="S::ctenhover@lorainccc.edu::ae2cf505-6387-4cc4-9e8f-d6c2096d9cc9" providerId="AD" clId="Web-{7BCF8552-377E-4F2E-9820-B84EAD6FB1B6}" dt="2025-02-14T19:11:17.899" v="0" actId="1076"/>
        <pc:sldMkLst>
          <pc:docMk/>
          <pc:sldMk cId="338131953" sldId="296"/>
        </pc:sldMkLst>
        <pc:picChg chg="mod">
          <ac:chgData name="Courtney Tenhover" userId="S::ctenhover@lorainccc.edu::ae2cf505-6387-4cc4-9e8f-d6c2096d9cc9" providerId="AD" clId="Web-{7BCF8552-377E-4F2E-9820-B84EAD6FB1B6}" dt="2025-02-14T19:11:17.899" v="0" actId="1076"/>
          <ac:picMkLst>
            <pc:docMk/>
            <pc:sldMk cId="338131953" sldId="296"/>
            <ac:picMk id="15" creationId="{026F6B8E-7285-4BDE-8332-364F65D31325}"/>
          </ac:picMkLst>
        </pc:picChg>
      </pc:sldChg>
    </pc:docChg>
  </pc:docChgLst>
  <pc:docChgLst>
    <pc:chgData name="Kathryn Stack" userId="S::kstack@lorainccc.edu::300d2917-71ce-4bec-af65-3c4f45002b8b" providerId="AD" clId="Web-{F0E1A6A6-5015-5346-D10C-925CEB90AF28}"/>
    <pc:docChg chg="modSld">
      <pc:chgData name="Kathryn Stack" userId="S::kstack@lorainccc.edu::300d2917-71ce-4bec-af65-3c4f45002b8b" providerId="AD" clId="Web-{F0E1A6A6-5015-5346-D10C-925CEB90AF28}" dt="2025-02-14T19:32:58.290" v="0" actId="20577"/>
      <pc:docMkLst>
        <pc:docMk/>
      </pc:docMkLst>
      <pc:sldChg chg="modSp">
        <pc:chgData name="Kathryn Stack" userId="S::kstack@lorainccc.edu::300d2917-71ce-4bec-af65-3c4f45002b8b" providerId="AD" clId="Web-{F0E1A6A6-5015-5346-D10C-925CEB90AF28}" dt="2025-02-14T19:32:58.290" v="0" actId="20577"/>
        <pc:sldMkLst>
          <pc:docMk/>
          <pc:sldMk cId="1418819886" sldId="298"/>
        </pc:sldMkLst>
        <pc:spChg chg="mod">
          <ac:chgData name="Kathryn Stack" userId="S::kstack@lorainccc.edu::300d2917-71ce-4bec-af65-3c4f45002b8b" providerId="AD" clId="Web-{F0E1A6A6-5015-5346-D10C-925CEB90AF28}" dt="2025-02-14T19:32:58.290" v="0" actId="20577"/>
          <ac:spMkLst>
            <pc:docMk/>
            <pc:sldMk cId="1418819886" sldId="298"/>
            <ac:spMk id="38" creationId="{00000000-0000-0000-0000-000000000000}"/>
          </ac:spMkLst>
        </pc:spChg>
      </pc:sldChg>
    </pc:docChg>
  </pc:docChgLst>
  <pc:docChgLst>
    <pc:chgData name="Courtney Tenhover" userId="ae2cf505-6387-4cc4-9e8f-d6c2096d9cc9" providerId="ADAL" clId="{059FCE32-2B41-44BF-BDDE-33ADBFBB8052}"/>
    <pc:docChg chg="undo custSel addSld delSld modSld sldOrd delMainMaster">
      <pc:chgData name="Courtney Tenhover" userId="ae2cf505-6387-4cc4-9e8f-d6c2096d9cc9" providerId="ADAL" clId="{059FCE32-2B41-44BF-BDDE-33ADBFBB8052}" dt="2025-04-15T12:10:02.520" v="1425" actId="1076"/>
      <pc:docMkLst>
        <pc:docMk/>
      </pc:docMkLst>
      <pc:sldChg chg="del">
        <pc:chgData name="Courtney Tenhover" userId="ae2cf505-6387-4cc4-9e8f-d6c2096d9cc9" providerId="ADAL" clId="{059FCE32-2B41-44BF-BDDE-33ADBFBB8052}" dt="2025-04-14T20:00:09.893" v="315" actId="47"/>
        <pc:sldMkLst>
          <pc:docMk/>
          <pc:sldMk cId="0" sldId="256"/>
        </pc:sldMkLst>
      </pc:sldChg>
      <pc:sldChg chg="del">
        <pc:chgData name="Courtney Tenhover" userId="ae2cf505-6387-4cc4-9e8f-d6c2096d9cc9" providerId="ADAL" clId="{059FCE32-2B41-44BF-BDDE-33ADBFBB8052}" dt="2025-04-14T20:00:10.380" v="316" actId="47"/>
        <pc:sldMkLst>
          <pc:docMk/>
          <pc:sldMk cId="0" sldId="257"/>
        </pc:sldMkLst>
      </pc:sldChg>
      <pc:sldChg chg="del">
        <pc:chgData name="Courtney Tenhover" userId="ae2cf505-6387-4cc4-9e8f-d6c2096d9cc9" providerId="ADAL" clId="{059FCE32-2B41-44BF-BDDE-33ADBFBB8052}" dt="2025-04-14T20:00:10.781" v="317" actId="47"/>
        <pc:sldMkLst>
          <pc:docMk/>
          <pc:sldMk cId="0" sldId="258"/>
        </pc:sldMkLst>
      </pc:sldChg>
      <pc:sldChg chg="del">
        <pc:chgData name="Courtney Tenhover" userId="ae2cf505-6387-4cc4-9e8f-d6c2096d9cc9" providerId="ADAL" clId="{059FCE32-2B41-44BF-BDDE-33ADBFBB8052}" dt="2025-04-14T20:00:11.554" v="319" actId="47"/>
        <pc:sldMkLst>
          <pc:docMk/>
          <pc:sldMk cId="0" sldId="260"/>
        </pc:sldMkLst>
      </pc:sldChg>
      <pc:sldChg chg="del">
        <pc:chgData name="Courtney Tenhover" userId="ae2cf505-6387-4cc4-9e8f-d6c2096d9cc9" providerId="ADAL" clId="{059FCE32-2B41-44BF-BDDE-33ADBFBB8052}" dt="2025-04-14T20:00:11.919" v="320" actId="47"/>
        <pc:sldMkLst>
          <pc:docMk/>
          <pc:sldMk cId="2330476560" sldId="261"/>
        </pc:sldMkLst>
      </pc:sldChg>
      <pc:sldChg chg="del">
        <pc:chgData name="Courtney Tenhover" userId="ae2cf505-6387-4cc4-9e8f-d6c2096d9cc9" providerId="ADAL" clId="{059FCE32-2B41-44BF-BDDE-33ADBFBB8052}" dt="2025-04-14T20:00:12.633" v="321" actId="47"/>
        <pc:sldMkLst>
          <pc:docMk/>
          <pc:sldMk cId="0" sldId="262"/>
        </pc:sldMkLst>
      </pc:sldChg>
      <pc:sldChg chg="del">
        <pc:chgData name="Courtney Tenhover" userId="ae2cf505-6387-4cc4-9e8f-d6c2096d9cc9" providerId="ADAL" clId="{059FCE32-2B41-44BF-BDDE-33ADBFBB8052}" dt="2025-04-14T20:00:13.291" v="322" actId="47"/>
        <pc:sldMkLst>
          <pc:docMk/>
          <pc:sldMk cId="0" sldId="263"/>
        </pc:sldMkLst>
      </pc:sldChg>
      <pc:sldChg chg="del">
        <pc:chgData name="Courtney Tenhover" userId="ae2cf505-6387-4cc4-9e8f-d6c2096d9cc9" providerId="ADAL" clId="{059FCE32-2B41-44BF-BDDE-33ADBFBB8052}" dt="2025-04-14T20:00:13.737" v="323" actId="47"/>
        <pc:sldMkLst>
          <pc:docMk/>
          <pc:sldMk cId="0" sldId="264"/>
        </pc:sldMkLst>
      </pc:sldChg>
      <pc:sldChg chg="modSp mod">
        <pc:chgData name="Courtney Tenhover" userId="ae2cf505-6387-4cc4-9e8f-d6c2096d9cc9" providerId="ADAL" clId="{059FCE32-2B41-44BF-BDDE-33ADBFBB8052}" dt="2025-04-14T20:13:16.412" v="446" actId="403"/>
        <pc:sldMkLst>
          <pc:docMk/>
          <pc:sldMk cId="48821582" sldId="268"/>
        </pc:sldMkLst>
        <pc:spChg chg="mod">
          <ac:chgData name="Courtney Tenhover" userId="ae2cf505-6387-4cc4-9e8f-d6c2096d9cc9" providerId="ADAL" clId="{059FCE32-2B41-44BF-BDDE-33ADBFBB8052}" dt="2025-04-14T20:13:16.412" v="446" actId="403"/>
          <ac:spMkLst>
            <pc:docMk/>
            <pc:sldMk cId="48821582" sldId="268"/>
            <ac:spMk id="35" creationId="{00000000-0000-0000-0000-000000000000}"/>
          </ac:spMkLst>
        </pc:spChg>
        <pc:spChg chg="mod">
          <ac:chgData name="Courtney Tenhover" userId="ae2cf505-6387-4cc4-9e8f-d6c2096d9cc9" providerId="ADAL" clId="{059FCE32-2B41-44BF-BDDE-33ADBFBB8052}" dt="2025-04-14T19:43:44.735" v="19" actId="20577"/>
          <ac:spMkLst>
            <pc:docMk/>
            <pc:sldMk cId="48821582" sldId="268"/>
            <ac:spMk id="50" creationId="{E2B64ADE-BC38-4898-A680-01C062154ABF}"/>
          </ac:spMkLst>
        </pc:spChg>
      </pc:sldChg>
      <pc:sldChg chg="modSp mod">
        <pc:chgData name="Courtney Tenhover" userId="ae2cf505-6387-4cc4-9e8f-d6c2096d9cc9" providerId="ADAL" clId="{059FCE32-2B41-44BF-BDDE-33ADBFBB8052}" dt="2025-04-15T11:55:05.832" v="1317" actId="403"/>
        <pc:sldMkLst>
          <pc:docMk/>
          <pc:sldMk cId="0" sldId="269"/>
        </pc:sldMkLst>
        <pc:spChg chg="mod">
          <ac:chgData name="Courtney Tenhover" userId="ae2cf505-6387-4cc4-9e8f-d6c2096d9cc9" providerId="ADAL" clId="{059FCE32-2B41-44BF-BDDE-33ADBFBB8052}" dt="2025-04-14T20:13:06.070" v="443" actId="14100"/>
          <ac:spMkLst>
            <pc:docMk/>
            <pc:sldMk cId="0" sldId="269"/>
            <ac:spMk id="15" creationId="{1C189053-3F90-3D5A-A734-A5DF8437815E}"/>
          </ac:spMkLst>
        </pc:spChg>
        <pc:spChg chg="mod">
          <ac:chgData name="Courtney Tenhover" userId="ae2cf505-6387-4cc4-9e8f-d6c2096d9cc9" providerId="ADAL" clId="{059FCE32-2B41-44BF-BDDE-33ADBFBB8052}" dt="2025-04-14T20:10:05.265" v="430" actId="208"/>
          <ac:spMkLst>
            <pc:docMk/>
            <pc:sldMk cId="0" sldId="269"/>
            <ac:spMk id="20" creationId="{00000000-0000-0000-0000-000000000000}"/>
          </ac:spMkLst>
        </pc:spChg>
        <pc:spChg chg="mod">
          <ac:chgData name="Courtney Tenhover" userId="ae2cf505-6387-4cc4-9e8f-d6c2096d9cc9" providerId="ADAL" clId="{059FCE32-2B41-44BF-BDDE-33ADBFBB8052}" dt="2025-04-14T20:12:48.666" v="441" actId="1076"/>
          <ac:spMkLst>
            <pc:docMk/>
            <pc:sldMk cId="0" sldId="269"/>
            <ac:spMk id="27" creationId="{00000000-0000-0000-0000-000000000000}"/>
          </ac:spMkLst>
        </pc:spChg>
        <pc:spChg chg="mod">
          <ac:chgData name="Courtney Tenhover" userId="ae2cf505-6387-4cc4-9e8f-d6c2096d9cc9" providerId="ADAL" clId="{059FCE32-2B41-44BF-BDDE-33ADBFBB8052}" dt="2025-04-15T11:55:05.832" v="1317" actId="403"/>
          <ac:spMkLst>
            <pc:docMk/>
            <pc:sldMk cId="0" sldId="269"/>
            <ac:spMk id="28" creationId="{00000000-0000-0000-0000-000000000000}"/>
          </ac:spMkLst>
        </pc:spChg>
        <pc:spChg chg="mod">
          <ac:chgData name="Courtney Tenhover" userId="ae2cf505-6387-4cc4-9e8f-d6c2096d9cc9" providerId="ADAL" clId="{059FCE32-2B41-44BF-BDDE-33ADBFBB8052}" dt="2025-04-14T19:43:08.699" v="6" actId="20577"/>
          <ac:spMkLst>
            <pc:docMk/>
            <pc:sldMk cId="0" sldId="269"/>
            <ac:spMk id="30" creationId="{00000000-0000-0000-0000-000000000000}"/>
          </ac:spMkLst>
        </pc:spChg>
        <pc:spChg chg="mod">
          <ac:chgData name="Courtney Tenhover" userId="ae2cf505-6387-4cc4-9e8f-d6c2096d9cc9" providerId="ADAL" clId="{059FCE32-2B41-44BF-BDDE-33ADBFBB8052}" dt="2025-04-14T20:12:42.559" v="440" actId="14100"/>
          <ac:spMkLst>
            <pc:docMk/>
            <pc:sldMk cId="0" sldId="269"/>
            <ac:spMk id="31" creationId="{6926DC36-CF0D-4310-BD0A-2E11D81DDB7B}"/>
          </ac:spMkLst>
        </pc:spChg>
        <pc:grpChg chg="mod">
          <ac:chgData name="Courtney Tenhover" userId="ae2cf505-6387-4cc4-9e8f-d6c2096d9cc9" providerId="ADAL" clId="{059FCE32-2B41-44BF-BDDE-33ADBFBB8052}" dt="2025-04-14T20:10:13.364" v="433" actId="1076"/>
          <ac:grpSpMkLst>
            <pc:docMk/>
            <pc:sldMk cId="0" sldId="269"/>
            <ac:grpSpMk id="6" creationId="{00000000-0000-0000-0000-000000000000}"/>
          </ac:grpSpMkLst>
        </pc:grpChg>
        <pc:grpChg chg="mod">
          <ac:chgData name="Courtney Tenhover" userId="ae2cf505-6387-4cc4-9e8f-d6c2096d9cc9" providerId="ADAL" clId="{059FCE32-2B41-44BF-BDDE-33ADBFBB8052}" dt="2025-04-14T20:10:12.410" v="432" actId="14100"/>
          <ac:grpSpMkLst>
            <pc:docMk/>
            <pc:sldMk cId="0" sldId="269"/>
            <ac:grpSpMk id="19" creationId="{00000000-0000-0000-0000-000000000000}"/>
          </ac:grpSpMkLst>
        </pc:grpChg>
      </pc:sldChg>
      <pc:sldChg chg="del">
        <pc:chgData name="Courtney Tenhover" userId="ae2cf505-6387-4cc4-9e8f-d6c2096d9cc9" providerId="ADAL" clId="{059FCE32-2B41-44BF-BDDE-33ADBFBB8052}" dt="2025-04-14T20:00:14.329" v="324" actId="47"/>
        <pc:sldMkLst>
          <pc:docMk/>
          <pc:sldMk cId="1520073781" sldId="288"/>
        </pc:sldMkLst>
      </pc:sldChg>
      <pc:sldChg chg="modSp mod">
        <pc:chgData name="Courtney Tenhover" userId="ae2cf505-6387-4cc4-9e8f-d6c2096d9cc9" providerId="ADAL" clId="{059FCE32-2B41-44BF-BDDE-33ADBFBB8052}" dt="2025-04-14T20:06:17.820" v="428" actId="1076"/>
        <pc:sldMkLst>
          <pc:docMk/>
          <pc:sldMk cId="2835311434" sldId="295"/>
        </pc:sldMkLst>
        <pc:spChg chg="mod">
          <ac:chgData name="Courtney Tenhover" userId="ae2cf505-6387-4cc4-9e8f-d6c2096d9cc9" providerId="ADAL" clId="{059FCE32-2B41-44BF-BDDE-33ADBFBB8052}" dt="2025-04-14T20:06:15.774" v="427" actId="20577"/>
          <ac:spMkLst>
            <pc:docMk/>
            <pc:sldMk cId="2835311434" sldId="295"/>
            <ac:spMk id="9" creationId="{00000000-0000-0000-0000-000000000000}"/>
          </ac:spMkLst>
        </pc:spChg>
        <pc:spChg chg="mod">
          <ac:chgData name="Courtney Tenhover" userId="ae2cf505-6387-4cc4-9e8f-d6c2096d9cc9" providerId="ADAL" clId="{059FCE32-2B41-44BF-BDDE-33ADBFBB8052}" dt="2025-04-14T20:04:55.827" v="425" actId="113"/>
          <ac:spMkLst>
            <pc:docMk/>
            <pc:sldMk cId="2835311434" sldId="295"/>
            <ac:spMk id="30" creationId="{00000000-0000-0000-0000-000000000000}"/>
          </ac:spMkLst>
        </pc:spChg>
        <pc:grpChg chg="mod">
          <ac:chgData name="Courtney Tenhover" userId="ae2cf505-6387-4cc4-9e8f-d6c2096d9cc9" providerId="ADAL" clId="{059FCE32-2B41-44BF-BDDE-33ADBFBB8052}" dt="2025-04-14T20:06:17.820" v="428" actId="1076"/>
          <ac:grpSpMkLst>
            <pc:docMk/>
            <pc:sldMk cId="2835311434" sldId="295"/>
            <ac:grpSpMk id="10" creationId="{00000000-0000-0000-0000-000000000000}"/>
          </ac:grpSpMkLst>
        </pc:grpChg>
      </pc:sldChg>
      <pc:sldChg chg="del">
        <pc:chgData name="Courtney Tenhover" userId="ae2cf505-6387-4cc4-9e8f-d6c2096d9cc9" providerId="ADAL" clId="{059FCE32-2B41-44BF-BDDE-33ADBFBB8052}" dt="2025-04-14T19:43:13.936" v="7" actId="47"/>
        <pc:sldMkLst>
          <pc:docMk/>
          <pc:sldMk cId="1418819886" sldId="298"/>
        </pc:sldMkLst>
      </pc:sldChg>
      <pc:sldChg chg="addSp delSp modSp modNotesTx">
        <pc:chgData name="Courtney Tenhover" userId="ae2cf505-6387-4cc4-9e8f-d6c2096d9cc9" providerId="ADAL" clId="{059FCE32-2B41-44BF-BDDE-33ADBFBB8052}" dt="2025-04-15T11:54:36.965" v="1315" actId="1076"/>
        <pc:sldMkLst>
          <pc:docMk/>
          <pc:sldMk cId="2026029857" sldId="301"/>
        </pc:sldMkLst>
        <pc:picChg chg="add mod">
          <ac:chgData name="Courtney Tenhover" userId="ae2cf505-6387-4cc4-9e8f-d6c2096d9cc9" providerId="ADAL" clId="{059FCE32-2B41-44BF-BDDE-33ADBFBB8052}" dt="2025-04-15T11:54:36.965" v="1315" actId="1076"/>
          <ac:picMkLst>
            <pc:docMk/>
            <pc:sldMk cId="2026029857" sldId="301"/>
            <ac:picMk id="1026" creationId="{E02EDD9C-39F5-4AC6-A25C-7924B3C34943}"/>
          </ac:picMkLst>
        </pc:picChg>
        <pc:picChg chg="del">
          <ac:chgData name="Courtney Tenhover" userId="ae2cf505-6387-4cc4-9e8f-d6c2096d9cc9" providerId="ADAL" clId="{059FCE32-2B41-44BF-BDDE-33ADBFBB8052}" dt="2025-04-15T11:54:02.639" v="1308" actId="478"/>
          <ac:picMkLst>
            <pc:docMk/>
            <pc:sldMk cId="2026029857" sldId="301"/>
            <ac:picMk id="2050" creationId="{6A62BCC0-080C-48FD-B9C1-3C9184E75CFF}"/>
          </ac:picMkLst>
        </pc:picChg>
      </pc:sldChg>
      <pc:sldChg chg="addSp delSp modSp mod">
        <pc:chgData name="Courtney Tenhover" userId="ae2cf505-6387-4cc4-9e8f-d6c2096d9cc9" providerId="ADAL" clId="{059FCE32-2B41-44BF-BDDE-33ADBFBB8052}" dt="2025-04-15T12:05:28.258" v="1326" actId="167"/>
        <pc:sldMkLst>
          <pc:docMk/>
          <pc:sldMk cId="2263598897" sldId="302"/>
        </pc:sldMkLst>
        <pc:spChg chg="add del mod">
          <ac:chgData name="Courtney Tenhover" userId="ae2cf505-6387-4cc4-9e8f-d6c2096d9cc9" providerId="ADAL" clId="{059FCE32-2B41-44BF-BDDE-33ADBFBB8052}" dt="2025-04-14T20:14:19.395" v="484"/>
          <ac:spMkLst>
            <pc:docMk/>
            <pc:sldMk cId="2263598897" sldId="302"/>
            <ac:spMk id="12" creationId="{66EBF413-2B26-4AEF-9DC9-108BC02F56BA}"/>
          </ac:spMkLst>
        </pc:spChg>
        <pc:spChg chg="del">
          <ac:chgData name="Courtney Tenhover" userId="ae2cf505-6387-4cc4-9e8f-d6c2096d9cc9" providerId="ADAL" clId="{059FCE32-2B41-44BF-BDDE-33ADBFBB8052}" dt="2025-04-14T19:46:26.726" v="22" actId="478"/>
          <ac:spMkLst>
            <pc:docMk/>
            <pc:sldMk cId="2263598897" sldId="302"/>
            <ac:spMk id="13" creationId="{FBDEAA15-DC74-4B9A-8603-1E99ED4285B6}"/>
          </ac:spMkLst>
        </pc:spChg>
        <pc:spChg chg="del">
          <ac:chgData name="Courtney Tenhover" userId="ae2cf505-6387-4cc4-9e8f-d6c2096d9cc9" providerId="ADAL" clId="{059FCE32-2B41-44BF-BDDE-33ADBFBB8052}" dt="2025-04-14T19:46:28.113" v="23" actId="478"/>
          <ac:spMkLst>
            <pc:docMk/>
            <pc:sldMk cId="2263598897" sldId="302"/>
            <ac:spMk id="14" creationId="{C64DFAB3-9506-4A9F-BBD3-A2C60F30420A}"/>
          </ac:spMkLst>
        </pc:spChg>
        <pc:spChg chg="mod">
          <ac:chgData name="Courtney Tenhover" userId="ae2cf505-6387-4cc4-9e8f-d6c2096d9cc9" providerId="ADAL" clId="{059FCE32-2B41-44BF-BDDE-33ADBFBB8052}" dt="2025-04-14T20:13:55.894" v="453" actId="403"/>
          <ac:spMkLst>
            <pc:docMk/>
            <pc:sldMk cId="2263598897" sldId="302"/>
            <ac:spMk id="15" creationId="{1F96C785-DB67-42A3-977C-7C7AF4E75DB3}"/>
          </ac:spMkLst>
        </pc:spChg>
        <pc:spChg chg="add mod">
          <ac:chgData name="Courtney Tenhover" userId="ae2cf505-6387-4cc4-9e8f-d6c2096d9cc9" providerId="ADAL" clId="{059FCE32-2B41-44BF-BDDE-33ADBFBB8052}" dt="2025-04-14T20:15:40.627" v="684" actId="113"/>
          <ac:spMkLst>
            <pc:docMk/>
            <pc:sldMk cId="2263598897" sldId="302"/>
            <ac:spMk id="16" creationId="{5693CAF8-A1FC-46DF-A786-ADAEABB11BA7}"/>
          </ac:spMkLst>
        </pc:spChg>
        <pc:spChg chg="add mod ord">
          <ac:chgData name="Courtney Tenhover" userId="ae2cf505-6387-4cc4-9e8f-d6c2096d9cc9" providerId="ADAL" clId="{059FCE32-2B41-44BF-BDDE-33ADBFBB8052}" dt="2025-04-15T12:05:28.258" v="1326" actId="167"/>
          <ac:spMkLst>
            <pc:docMk/>
            <pc:sldMk cId="2263598897" sldId="302"/>
            <ac:spMk id="18" creationId="{CE47EE34-91DB-4402-885C-10BD27BD9A01}"/>
          </ac:spMkLst>
        </pc:spChg>
        <pc:spChg chg="del">
          <ac:chgData name="Courtney Tenhover" userId="ae2cf505-6387-4cc4-9e8f-d6c2096d9cc9" providerId="ADAL" clId="{059FCE32-2B41-44BF-BDDE-33ADBFBB8052}" dt="2025-04-14T19:48:32.050" v="31" actId="478"/>
          <ac:spMkLst>
            <pc:docMk/>
            <pc:sldMk cId="2263598897" sldId="302"/>
            <ac:spMk id="36" creationId="{3AAAA20B-B4E2-4F32-81AF-D65D8916F1D2}"/>
          </ac:spMkLst>
        </pc:spChg>
        <pc:spChg chg="mod">
          <ac:chgData name="Courtney Tenhover" userId="ae2cf505-6387-4cc4-9e8f-d6c2096d9cc9" providerId="ADAL" clId="{059FCE32-2B41-44BF-BDDE-33ADBFBB8052}" dt="2025-04-14T20:14:22.465" v="485" actId="1076"/>
          <ac:spMkLst>
            <pc:docMk/>
            <pc:sldMk cId="2263598897" sldId="302"/>
            <ac:spMk id="46" creationId="{00000000-0000-0000-0000-000000000000}"/>
          </ac:spMkLst>
        </pc:spChg>
        <pc:spChg chg="mod">
          <ac:chgData name="Courtney Tenhover" userId="ae2cf505-6387-4cc4-9e8f-d6c2096d9cc9" providerId="ADAL" clId="{059FCE32-2B41-44BF-BDDE-33ADBFBB8052}" dt="2025-04-14T20:14:24.865" v="486" actId="1076"/>
          <ac:spMkLst>
            <pc:docMk/>
            <pc:sldMk cId="2263598897" sldId="302"/>
            <ac:spMk id="47" creationId="{00000000-0000-0000-0000-000000000000}"/>
          </ac:spMkLst>
        </pc:spChg>
        <pc:spChg chg="mod">
          <ac:chgData name="Courtney Tenhover" userId="ae2cf505-6387-4cc4-9e8f-d6c2096d9cc9" providerId="ADAL" clId="{059FCE32-2B41-44BF-BDDE-33ADBFBB8052}" dt="2025-04-14T20:13:46.511" v="452" actId="1076"/>
          <ac:spMkLst>
            <pc:docMk/>
            <pc:sldMk cId="2263598897" sldId="302"/>
            <ac:spMk id="51" creationId="{0F29C125-2770-4F23-8BAE-55A6F66BA9C9}"/>
          </ac:spMkLst>
        </pc:spChg>
        <pc:grpChg chg="mod">
          <ac:chgData name="Courtney Tenhover" userId="ae2cf505-6387-4cc4-9e8f-d6c2096d9cc9" providerId="ADAL" clId="{059FCE32-2B41-44BF-BDDE-33ADBFBB8052}" dt="2025-04-14T20:13:37.083" v="450" actId="1076"/>
          <ac:grpSpMkLst>
            <pc:docMk/>
            <pc:sldMk cId="2263598897" sldId="302"/>
            <ac:grpSpMk id="48" creationId="{F7E04E23-82BF-41D5-8ABF-13513A7742F0}"/>
          </ac:grpSpMkLst>
        </pc:grpChg>
        <pc:picChg chg="add mod modCrop">
          <ac:chgData name="Courtney Tenhover" userId="ae2cf505-6387-4cc4-9e8f-d6c2096d9cc9" providerId="ADAL" clId="{059FCE32-2B41-44BF-BDDE-33ADBFBB8052}" dt="2025-04-14T20:15:46.050" v="686" actId="1076"/>
          <ac:picMkLst>
            <pc:docMk/>
            <pc:sldMk cId="2263598897" sldId="302"/>
            <ac:picMk id="3" creationId="{57B5E30B-6B4F-4068-9F65-AA7494F4A8CE}"/>
          </ac:picMkLst>
        </pc:picChg>
        <pc:picChg chg="add mod modCrop">
          <ac:chgData name="Courtney Tenhover" userId="ae2cf505-6387-4cc4-9e8f-d6c2096d9cc9" providerId="ADAL" clId="{059FCE32-2B41-44BF-BDDE-33ADBFBB8052}" dt="2025-04-15T12:04:38.767" v="1324" actId="14100"/>
          <ac:picMkLst>
            <pc:docMk/>
            <pc:sldMk cId="2263598897" sldId="302"/>
            <ac:picMk id="4" creationId="{7DE267FA-F9CC-4FCA-B76C-FB55F5CCDE8D}"/>
          </ac:picMkLst>
        </pc:picChg>
        <pc:picChg chg="add mod">
          <ac:chgData name="Courtney Tenhover" userId="ae2cf505-6387-4cc4-9e8f-d6c2096d9cc9" providerId="ADAL" clId="{059FCE32-2B41-44BF-BDDE-33ADBFBB8052}" dt="2025-04-14T20:15:47.398" v="687" actId="1076"/>
          <ac:picMkLst>
            <pc:docMk/>
            <pc:sldMk cId="2263598897" sldId="302"/>
            <ac:picMk id="5" creationId="{92715802-C2ED-4CE8-8DBC-966DD01C074B}"/>
          </ac:picMkLst>
        </pc:picChg>
        <pc:picChg chg="add mod">
          <ac:chgData name="Courtney Tenhover" userId="ae2cf505-6387-4cc4-9e8f-d6c2096d9cc9" providerId="ADAL" clId="{059FCE32-2B41-44BF-BDDE-33ADBFBB8052}" dt="2025-04-14T19:53:16.691" v="103" actId="1076"/>
          <ac:picMkLst>
            <pc:docMk/>
            <pc:sldMk cId="2263598897" sldId="302"/>
            <ac:picMk id="7" creationId="{925F2966-A4F1-4ED4-866B-9B96090FB7DC}"/>
          </ac:picMkLst>
        </pc:picChg>
        <pc:picChg chg="add del mod modCrop">
          <ac:chgData name="Courtney Tenhover" userId="ae2cf505-6387-4cc4-9e8f-d6c2096d9cc9" providerId="ADAL" clId="{059FCE32-2B41-44BF-BDDE-33ADBFBB8052}" dt="2025-04-15T11:58:47.120" v="1318" actId="478"/>
          <ac:picMkLst>
            <pc:docMk/>
            <pc:sldMk cId="2263598897" sldId="302"/>
            <ac:picMk id="9" creationId="{9B62D3D9-5B44-4404-8CF1-B49497CBEF5C}"/>
          </ac:picMkLst>
        </pc:picChg>
        <pc:picChg chg="add mod modCrop">
          <ac:chgData name="Courtney Tenhover" userId="ae2cf505-6387-4cc4-9e8f-d6c2096d9cc9" providerId="ADAL" clId="{059FCE32-2B41-44BF-BDDE-33ADBFBB8052}" dt="2025-04-15T11:59:09.816" v="1323" actId="14100"/>
          <ac:picMkLst>
            <pc:docMk/>
            <pc:sldMk cId="2263598897" sldId="302"/>
            <ac:picMk id="11" creationId="{1DA776F5-973A-419F-B436-365F805C8E19}"/>
          </ac:picMkLst>
        </pc:picChg>
        <pc:picChg chg="del">
          <ac:chgData name="Courtney Tenhover" userId="ae2cf505-6387-4cc4-9e8f-d6c2096d9cc9" providerId="ADAL" clId="{059FCE32-2B41-44BF-BDDE-33ADBFBB8052}" dt="2025-04-14T19:46:40.331" v="25" actId="478"/>
          <ac:picMkLst>
            <pc:docMk/>
            <pc:sldMk cId="2263598897" sldId="302"/>
            <ac:picMk id="17" creationId="{DE1A10C3-2906-4433-8892-CEE21EDFEAE1}"/>
          </ac:picMkLst>
        </pc:picChg>
        <pc:picChg chg="del">
          <ac:chgData name="Courtney Tenhover" userId="ae2cf505-6387-4cc4-9e8f-d6c2096d9cc9" providerId="ADAL" clId="{059FCE32-2B41-44BF-BDDE-33ADBFBB8052}" dt="2025-04-14T19:46:39.561" v="24" actId="478"/>
          <ac:picMkLst>
            <pc:docMk/>
            <pc:sldMk cId="2263598897" sldId="302"/>
            <ac:picMk id="54" creationId="{3067D24A-1042-4329-83B8-3078934EFA11}"/>
          </ac:picMkLst>
        </pc:picChg>
        <pc:cxnChg chg="del">
          <ac:chgData name="Courtney Tenhover" userId="ae2cf505-6387-4cc4-9e8f-d6c2096d9cc9" providerId="ADAL" clId="{059FCE32-2B41-44BF-BDDE-33ADBFBB8052}" dt="2025-04-14T19:51:54.711" v="76" actId="478"/>
          <ac:cxnSpMkLst>
            <pc:docMk/>
            <pc:sldMk cId="2263598897" sldId="302"/>
            <ac:cxnSpMk id="19" creationId="{7FE0914E-86FE-46D2-BFD2-D3664C568426}"/>
          </ac:cxnSpMkLst>
        </pc:cxnChg>
      </pc:sldChg>
      <pc:sldChg chg="del">
        <pc:chgData name="Courtney Tenhover" userId="ae2cf505-6387-4cc4-9e8f-d6c2096d9cc9" providerId="ADAL" clId="{059FCE32-2B41-44BF-BDDE-33ADBFBB8052}" dt="2025-04-14T20:00:09.111" v="313" actId="47"/>
        <pc:sldMkLst>
          <pc:docMk/>
          <pc:sldMk cId="942713949" sldId="304"/>
        </pc:sldMkLst>
      </pc:sldChg>
      <pc:sldChg chg="del">
        <pc:chgData name="Courtney Tenhover" userId="ae2cf505-6387-4cc4-9e8f-d6c2096d9cc9" providerId="ADAL" clId="{059FCE32-2B41-44BF-BDDE-33ADBFBB8052}" dt="2025-04-14T20:00:15.128" v="325" actId="47"/>
        <pc:sldMkLst>
          <pc:docMk/>
          <pc:sldMk cId="1942089565" sldId="359"/>
        </pc:sldMkLst>
      </pc:sldChg>
      <pc:sldChg chg="del">
        <pc:chgData name="Courtney Tenhover" userId="ae2cf505-6387-4cc4-9e8f-d6c2096d9cc9" providerId="ADAL" clId="{059FCE32-2B41-44BF-BDDE-33ADBFBB8052}" dt="2025-04-14T20:00:15.939" v="326" actId="47"/>
        <pc:sldMkLst>
          <pc:docMk/>
          <pc:sldMk cId="898110437" sldId="360"/>
        </pc:sldMkLst>
      </pc:sldChg>
      <pc:sldChg chg="del">
        <pc:chgData name="Courtney Tenhover" userId="ae2cf505-6387-4cc4-9e8f-d6c2096d9cc9" providerId="ADAL" clId="{059FCE32-2B41-44BF-BDDE-33ADBFBB8052}" dt="2025-04-14T20:00:16.519" v="327" actId="47"/>
        <pc:sldMkLst>
          <pc:docMk/>
          <pc:sldMk cId="2964400670" sldId="361"/>
        </pc:sldMkLst>
      </pc:sldChg>
      <pc:sldChg chg="addSp delSp modSp mod">
        <pc:chgData name="Courtney Tenhover" userId="ae2cf505-6387-4cc4-9e8f-d6c2096d9cc9" providerId="ADAL" clId="{059FCE32-2B41-44BF-BDDE-33ADBFBB8052}" dt="2025-04-14T23:40:12.588" v="1307" actId="1076"/>
        <pc:sldMkLst>
          <pc:docMk/>
          <pc:sldMk cId="2320850437" sldId="510"/>
        </pc:sldMkLst>
        <pc:spChg chg="add del mod">
          <ac:chgData name="Courtney Tenhover" userId="ae2cf505-6387-4cc4-9e8f-d6c2096d9cc9" providerId="ADAL" clId="{059FCE32-2B41-44BF-BDDE-33ADBFBB8052}" dt="2025-04-14T23:39:52.658" v="1301" actId="1076"/>
          <ac:spMkLst>
            <pc:docMk/>
            <pc:sldMk cId="2320850437" sldId="510"/>
            <ac:spMk id="2" creationId="{00000000-0000-0000-0000-000000000000}"/>
          </ac:spMkLst>
        </pc:spChg>
        <pc:spChg chg="del mod">
          <ac:chgData name="Courtney Tenhover" userId="ae2cf505-6387-4cc4-9e8f-d6c2096d9cc9" providerId="ADAL" clId="{059FCE32-2B41-44BF-BDDE-33ADBFBB8052}" dt="2025-04-14T20:03:20.632" v="421" actId="478"/>
          <ac:spMkLst>
            <pc:docMk/>
            <pc:sldMk cId="2320850437" sldId="510"/>
            <ac:spMk id="3" creationId="{A4DA0E22-2F67-440C-A3DB-52CD6115A5BC}"/>
          </ac:spMkLst>
        </pc:spChg>
        <pc:spChg chg="add del mod">
          <ac:chgData name="Courtney Tenhover" userId="ae2cf505-6387-4cc4-9e8f-d6c2096d9cc9" providerId="ADAL" clId="{059FCE32-2B41-44BF-BDDE-33ADBFBB8052}" dt="2025-04-14T23:36:25.595" v="1227"/>
          <ac:spMkLst>
            <pc:docMk/>
            <pc:sldMk cId="2320850437" sldId="510"/>
            <ac:spMk id="6" creationId="{2CE17608-9753-417B-B727-43BC13DD50C2}"/>
          </ac:spMkLst>
        </pc:spChg>
        <pc:spChg chg="add mod">
          <ac:chgData name="Courtney Tenhover" userId="ae2cf505-6387-4cc4-9e8f-d6c2096d9cc9" providerId="ADAL" clId="{059FCE32-2B41-44BF-BDDE-33ADBFBB8052}" dt="2025-04-14T23:40:10.161" v="1306" actId="1076"/>
          <ac:spMkLst>
            <pc:docMk/>
            <pc:sldMk cId="2320850437" sldId="510"/>
            <ac:spMk id="7" creationId="{35F2B9FC-CF8C-47B7-99DC-7A6E265D2BD4}"/>
          </ac:spMkLst>
        </pc:spChg>
        <pc:spChg chg="del mod">
          <ac:chgData name="Courtney Tenhover" userId="ae2cf505-6387-4cc4-9e8f-d6c2096d9cc9" providerId="ADAL" clId="{059FCE32-2B41-44BF-BDDE-33ADBFBB8052}" dt="2025-04-14T23:32:43.996" v="1178" actId="478"/>
          <ac:spMkLst>
            <pc:docMk/>
            <pc:sldMk cId="2320850437" sldId="510"/>
            <ac:spMk id="8" creationId="{7D5855B0-C4B5-487B-8555-94B567121885}"/>
          </ac:spMkLst>
        </pc:spChg>
        <pc:spChg chg="add mod">
          <ac:chgData name="Courtney Tenhover" userId="ae2cf505-6387-4cc4-9e8f-d6c2096d9cc9" providerId="ADAL" clId="{059FCE32-2B41-44BF-BDDE-33ADBFBB8052}" dt="2025-04-14T23:39:59.180" v="1302" actId="1076"/>
          <ac:spMkLst>
            <pc:docMk/>
            <pc:sldMk cId="2320850437" sldId="510"/>
            <ac:spMk id="32" creationId="{E14979EC-AF4B-40CD-9A6B-325E132A7F48}"/>
          </ac:spMkLst>
        </pc:spChg>
        <pc:spChg chg="add del mod">
          <ac:chgData name="Courtney Tenhover" userId="ae2cf505-6387-4cc4-9e8f-d6c2096d9cc9" providerId="ADAL" clId="{059FCE32-2B41-44BF-BDDE-33ADBFBB8052}" dt="2025-04-14T23:36:42.763" v="1229"/>
          <ac:spMkLst>
            <pc:docMk/>
            <pc:sldMk cId="2320850437" sldId="510"/>
            <ac:spMk id="33" creationId="{05123866-9500-4C49-9ED3-BBDD3F4B2C7B}"/>
          </ac:spMkLst>
        </pc:spChg>
        <pc:picChg chg="add del mod modCrop">
          <ac:chgData name="Courtney Tenhover" userId="ae2cf505-6387-4cc4-9e8f-d6c2096d9cc9" providerId="ADAL" clId="{059FCE32-2B41-44BF-BDDE-33ADBFBB8052}" dt="2025-04-14T23:38:26.759" v="1261" actId="478"/>
          <ac:picMkLst>
            <pc:docMk/>
            <pc:sldMk cId="2320850437" sldId="510"/>
            <ac:picMk id="5" creationId="{19E007F1-CD7C-47F0-BE90-52583A2CBA6F}"/>
          </ac:picMkLst>
        </pc:picChg>
        <pc:picChg chg="add mod">
          <ac:chgData name="Courtney Tenhover" userId="ae2cf505-6387-4cc4-9e8f-d6c2096d9cc9" providerId="ADAL" clId="{059FCE32-2B41-44BF-BDDE-33ADBFBB8052}" dt="2025-04-14T23:40:12.588" v="1307" actId="1076"/>
          <ac:picMkLst>
            <pc:docMk/>
            <pc:sldMk cId="2320850437" sldId="510"/>
            <ac:picMk id="34" creationId="{1E2EF3C0-D7CD-4024-85B0-14C675CAAF21}"/>
          </ac:picMkLst>
        </pc:picChg>
        <pc:picChg chg="add del mod">
          <ac:chgData name="Courtney Tenhover" userId="ae2cf505-6387-4cc4-9e8f-d6c2096d9cc9" providerId="ADAL" clId="{059FCE32-2B41-44BF-BDDE-33ADBFBB8052}" dt="2025-04-14T23:32:35.731" v="1177" actId="478"/>
          <ac:picMkLst>
            <pc:docMk/>
            <pc:sldMk cId="2320850437" sldId="510"/>
            <ac:picMk id="36" creationId="{E4C689E3-9A9A-4E68-813E-7E223B3E8E16}"/>
          </ac:picMkLst>
        </pc:picChg>
        <pc:picChg chg="del">
          <ac:chgData name="Courtney Tenhover" userId="ae2cf505-6387-4cc4-9e8f-d6c2096d9cc9" providerId="ADAL" clId="{059FCE32-2B41-44BF-BDDE-33ADBFBB8052}" dt="2025-04-14T23:32:25.406" v="1171" actId="478"/>
          <ac:picMkLst>
            <pc:docMk/>
            <pc:sldMk cId="2320850437" sldId="510"/>
            <ac:picMk id="2050" creationId="{B6BC7F32-7E06-418F-B02A-BA95E8C2BA6A}"/>
          </ac:picMkLst>
        </pc:picChg>
      </pc:sldChg>
      <pc:sldChg chg="del">
        <pc:chgData name="Courtney Tenhover" userId="ae2cf505-6387-4cc4-9e8f-d6c2096d9cc9" providerId="ADAL" clId="{059FCE32-2B41-44BF-BDDE-33ADBFBB8052}" dt="2025-04-14T19:46:14.201" v="21" actId="47"/>
        <pc:sldMkLst>
          <pc:docMk/>
          <pc:sldMk cId="487731204" sldId="511"/>
        </pc:sldMkLst>
      </pc:sldChg>
      <pc:sldChg chg="del">
        <pc:chgData name="Courtney Tenhover" userId="ae2cf505-6387-4cc4-9e8f-d6c2096d9cc9" providerId="ADAL" clId="{059FCE32-2B41-44BF-BDDE-33ADBFBB8052}" dt="2025-04-14T19:46:13.563" v="20" actId="47"/>
        <pc:sldMkLst>
          <pc:docMk/>
          <pc:sldMk cId="2148807831" sldId="512"/>
        </pc:sldMkLst>
      </pc:sldChg>
      <pc:sldChg chg="del">
        <pc:chgData name="Courtney Tenhover" userId="ae2cf505-6387-4cc4-9e8f-d6c2096d9cc9" providerId="ADAL" clId="{059FCE32-2B41-44BF-BDDE-33ADBFBB8052}" dt="2025-04-14T20:00:11.136" v="318" actId="47"/>
        <pc:sldMkLst>
          <pc:docMk/>
          <pc:sldMk cId="0" sldId="513"/>
        </pc:sldMkLst>
      </pc:sldChg>
      <pc:sldChg chg="del">
        <pc:chgData name="Courtney Tenhover" userId="ae2cf505-6387-4cc4-9e8f-d6c2096d9cc9" providerId="ADAL" clId="{059FCE32-2B41-44BF-BDDE-33ADBFBB8052}" dt="2025-04-14T19:59:58.817" v="299" actId="47"/>
        <pc:sldMkLst>
          <pc:docMk/>
          <pc:sldMk cId="2471054256" sldId="514"/>
        </pc:sldMkLst>
      </pc:sldChg>
      <pc:sldChg chg="del">
        <pc:chgData name="Courtney Tenhover" userId="ae2cf505-6387-4cc4-9e8f-d6c2096d9cc9" providerId="ADAL" clId="{059FCE32-2B41-44BF-BDDE-33ADBFBB8052}" dt="2025-04-14T20:00:00.052" v="300" actId="47"/>
        <pc:sldMkLst>
          <pc:docMk/>
          <pc:sldMk cId="4229713347" sldId="515"/>
        </pc:sldMkLst>
      </pc:sldChg>
      <pc:sldChg chg="del">
        <pc:chgData name="Courtney Tenhover" userId="ae2cf505-6387-4cc4-9e8f-d6c2096d9cc9" providerId="ADAL" clId="{059FCE32-2B41-44BF-BDDE-33ADBFBB8052}" dt="2025-04-14T20:00:04.438" v="306" actId="47"/>
        <pc:sldMkLst>
          <pc:docMk/>
          <pc:sldMk cId="2038717881" sldId="624"/>
        </pc:sldMkLst>
      </pc:sldChg>
      <pc:sldChg chg="del">
        <pc:chgData name="Courtney Tenhover" userId="ae2cf505-6387-4cc4-9e8f-d6c2096d9cc9" providerId="ADAL" clId="{059FCE32-2B41-44BF-BDDE-33ADBFBB8052}" dt="2025-04-14T20:00:03.133" v="304" actId="47"/>
        <pc:sldMkLst>
          <pc:docMk/>
          <pc:sldMk cId="867526034" sldId="646"/>
        </pc:sldMkLst>
      </pc:sldChg>
      <pc:sldChg chg="del">
        <pc:chgData name="Courtney Tenhover" userId="ae2cf505-6387-4cc4-9e8f-d6c2096d9cc9" providerId="ADAL" clId="{059FCE32-2B41-44BF-BDDE-33ADBFBB8052}" dt="2025-04-14T20:00:02.512" v="303" actId="47"/>
        <pc:sldMkLst>
          <pc:docMk/>
          <pc:sldMk cId="2088990802" sldId="655"/>
        </pc:sldMkLst>
      </pc:sldChg>
      <pc:sldChg chg="del">
        <pc:chgData name="Courtney Tenhover" userId="ae2cf505-6387-4cc4-9e8f-d6c2096d9cc9" providerId="ADAL" clId="{059FCE32-2B41-44BF-BDDE-33ADBFBB8052}" dt="2025-04-14T20:00:01.782" v="302" actId="47"/>
        <pc:sldMkLst>
          <pc:docMk/>
          <pc:sldMk cId="3569060490" sldId="660"/>
        </pc:sldMkLst>
      </pc:sldChg>
      <pc:sldChg chg="del">
        <pc:chgData name="Courtney Tenhover" userId="ae2cf505-6387-4cc4-9e8f-d6c2096d9cc9" providerId="ADAL" clId="{059FCE32-2B41-44BF-BDDE-33ADBFBB8052}" dt="2025-04-14T20:00:00.882" v="301" actId="47"/>
        <pc:sldMkLst>
          <pc:docMk/>
          <pc:sldMk cId="3010903662" sldId="2147468172"/>
        </pc:sldMkLst>
      </pc:sldChg>
      <pc:sldChg chg="del">
        <pc:chgData name="Courtney Tenhover" userId="ae2cf505-6387-4cc4-9e8f-d6c2096d9cc9" providerId="ADAL" clId="{059FCE32-2B41-44BF-BDDE-33ADBFBB8052}" dt="2025-04-14T20:00:07.204" v="309" actId="47"/>
        <pc:sldMkLst>
          <pc:docMk/>
          <pc:sldMk cId="3535191622" sldId="2147468181"/>
        </pc:sldMkLst>
      </pc:sldChg>
      <pc:sldChg chg="del">
        <pc:chgData name="Courtney Tenhover" userId="ae2cf505-6387-4cc4-9e8f-d6c2096d9cc9" providerId="ADAL" clId="{059FCE32-2B41-44BF-BDDE-33ADBFBB8052}" dt="2025-04-14T20:00:05.082" v="307" actId="47"/>
        <pc:sldMkLst>
          <pc:docMk/>
          <pc:sldMk cId="2431058562" sldId="2147468186"/>
        </pc:sldMkLst>
      </pc:sldChg>
      <pc:sldChg chg="del">
        <pc:chgData name="Courtney Tenhover" userId="ae2cf505-6387-4cc4-9e8f-d6c2096d9cc9" providerId="ADAL" clId="{059FCE32-2B41-44BF-BDDE-33ADBFBB8052}" dt="2025-04-14T20:00:05.698" v="308" actId="47"/>
        <pc:sldMkLst>
          <pc:docMk/>
          <pc:sldMk cId="1915022598" sldId="2147468187"/>
        </pc:sldMkLst>
      </pc:sldChg>
      <pc:sldChg chg="del">
        <pc:chgData name="Courtney Tenhover" userId="ae2cf505-6387-4cc4-9e8f-d6c2096d9cc9" providerId="ADAL" clId="{059FCE32-2B41-44BF-BDDE-33ADBFBB8052}" dt="2025-04-14T20:00:07.796" v="310" actId="47"/>
        <pc:sldMkLst>
          <pc:docMk/>
          <pc:sldMk cId="4180907646" sldId="2147468188"/>
        </pc:sldMkLst>
      </pc:sldChg>
      <pc:sldChg chg="del">
        <pc:chgData name="Courtney Tenhover" userId="ae2cf505-6387-4cc4-9e8f-d6c2096d9cc9" providerId="ADAL" clId="{059FCE32-2B41-44BF-BDDE-33ADBFBB8052}" dt="2025-04-14T20:00:03.852" v="305" actId="47"/>
        <pc:sldMkLst>
          <pc:docMk/>
          <pc:sldMk cId="3654146235" sldId="2147468190"/>
        </pc:sldMkLst>
      </pc:sldChg>
      <pc:sldChg chg="del">
        <pc:chgData name="Courtney Tenhover" userId="ae2cf505-6387-4cc4-9e8f-d6c2096d9cc9" providerId="ADAL" clId="{059FCE32-2B41-44BF-BDDE-33ADBFBB8052}" dt="2025-04-14T20:00:08.299" v="311" actId="47"/>
        <pc:sldMkLst>
          <pc:docMk/>
          <pc:sldMk cId="2865405191" sldId="2147468191"/>
        </pc:sldMkLst>
      </pc:sldChg>
      <pc:sldChg chg="del">
        <pc:chgData name="Courtney Tenhover" userId="ae2cf505-6387-4cc4-9e8f-d6c2096d9cc9" providerId="ADAL" clId="{059FCE32-2B41-44BF-BDDE-33ADBFBB8052}" dt="2025-04-14T20:00:08.720" v="312" actId="47"/>
        <pc:sldMkLst>
          <pc:docMk/>
          <pc:sldMk cId="2144788737" sldId="2147468192"/>
        </pc:sldMkLst>
      </pc:sldChg>
      <pc:sldChg chg="del">
        <pc:chgData name="Courtney Tenhover" userId="ae2cf505-6387-4cc4-9e8f-d6c2096d9cc9" providerId="ADAL" clId="{059FCE32-2B41-44BF-BDDE-33ADBFBB8052}" dt="2025-04-14T20:00:09.489" v="314" actId="47"/>
        <pc:sldMkLst>
          <pc:docMk/>
          <pc:sldMk cId="1159119927" sldId="2147468193"/>
        </pc:sldMkLst>
      </pc:sldChg>
      <pc:sldChg chg="addSp delSp modSp add mod setBg modNotesTx">
        <pc:chgData name="Courtney Tenhover" userId="ae2cf505-6387-4cc4-9e8f-d6c2096d9cc9" providerId="ADAL" clId="{059FCE32-2B41-44BF-BDDE-33ADBFBB8052}" dt="2025-04-14T20:01:17.038" v="377" actId="403"/>
        <pc:sldMkLst>
          <pc:docMk/>
          <pc:sldMk cId="3180746199" sldId="2147468194"/>
        </pc:sldMkLst>
        <pc:spChg chg="add mod">
          <ac:chgData name="Courtney Tenhover" userId="ae2cf505-6387-4cc4-9e8f-d6c2096d9cc9" providerId="ADAL" clId="{059FCE32-2B41-44BF-BDDE-33ADBFBB8052}" dt="2025-04-14T19:58:43.208" v="279" actId="1076"/>
          <ac:spMkLst>
            <pc:docMk/>
            <pc:sldMk cId="3180746199" sldId="2147468194"/>
            <ac:spMk id="6" creationId="{D70980E1-B4A2-414B-AFD2-B0E9EF19AFCF}"/>
          </ac:spMkLst>
        </pc:spChg>
        <pc:spChg chg="add mod">
          <ac:chgData name="Courtney Tenhover" userId="ae2cf505-6387-4cc4-9e8f-d6c2096d9cc9" providerId="ADAL" clId="{059FCE32-2B41-44BF-BDDE-33ADBFBB8052}" dt="2025-04-14T19:58:27.290" v="273" actId="1076"/>
          <ac:spMkLst>
            <pc:docMk/>
            <pc:sldMk cId="3180746199" sldId="2147468194"/>
            <ac:spMk id="8" creationId="{97ACAC63-0937-4543-B841-CBA791881A9C}"/>
          </ac:spMkLst>
        </pc:spChg>
        <pc:spChg chg="mod">
          <ac:chgData name="Courtney Tenhover" userId="ae2cf505-6387-4cc4-9e8f-d6c2096d9cc9" providerId="ADAL" clId="{059FCE32-2B41-44BF-BDDE-33ADBFBB8052}" dt="2025-04-14T20:01:17.038" v="377" actId="403"/>
          <ac:spMkLst>
            <pc:docMk/>
            <pc:sldMk cId="3180746199" sldId="2147468194"/>
            <ac:spMk id="15" creationId="{1F96C785-DB67-42A3-977C-7C7AF4E75DB3}"/>
          </ac:spMkLst>
        </pc:spChg>
        <pc:picChg chg="del mod">
          <ac:chgData name="Courtney Tenhover" userId="ae2cf505-6387-4cc4-9e8f-d6c2096d9cc9" providerId="ADAL" clId="{059FCE32-2B41-44BF-BDDE-33ADBFBB8052}" dt="2025-04-14T19:58:05.485" v="267" actId="478"/>
          <ac:picMkLst>
            <pc:docMk/>
            <pc:sldMk cId="3180746199" sldId="2147468194"/>
            <ac:picMk id="3" creationId="{57B5E30B-6B4F-4068-9F65-AA7494F4A8CE}"/>
          </ac:picMkLst>
        </pc:picChg>
        <pc:picChg chg="add del mod">
          <ac:chgData name="Courtney Tenhover" userId="ae2cf505-6387-4cc4-9e8f-d6c2096d9cc9" providerId="ADAL" clId="{059FCE32-2B41-44BF-BDDE-33ADBFBB8052}" dt="2025-04-14T19:56:55.688" v="248" actId="478"/>
          <ac:picMkLst>
            <pc:docMk/>
            <pc:sldMk cId="3180746199" sldId="2147468194"/>
            <ac:picMk id="4" creationId="{652E3A5E-D611-4CDB-8EAF-E25708D5E562}"/>
          </ac:picMkLst>
        </pc:picChg>
        <pc:picChg chg="del mod">
          <ac:chgData name="Courtney Tenhover" userId="ae2cf505-6387-4cc4-9e8f-d6c2096d9cc9" providerId="ADAL" clId="{059FCE32-2B41-44BF-BDDE-33ADBFBB8052}" dt="2025-04-14T19:58:04.875" v="266" actId="478"/>
          <ac:picMkLst>
            <pc:docMk/>
            <pc:sldMk cId="3180746199" sldId="2147468194"/>
            <ac:picMk id="5" creationId="{92715802-C2ED-4CE8-8DBC-966DD01C074B}"/>
          </ac:picMkLst>
        </pc:picChg>
        <pc:picChg chg="del">
          <ac:chgData name="Courtney Tenhover" userId="ae2cf505-6387-4cc4-9e8f-d6c2096d9cc9" providerId="ADAL" clId="{059FCE32-2B41-44BF-BDDE-33ADBFBB8052}" dt="2025-04-14T19:53:56.058" v="122" actId="478"/>
          <ac:picMkLst>
            <pc:docMk/>
            <pc:sldMk cId="3180746199" sldId="2147468194"/>
            <ac:picMk id="7" creationId="{925F2966-A4F1-4ED4-866B-9B96090FB7DC}"/>
          </ac:picMkLst>
        </pc:picChg>
        <pc:picChg chg="del">
          <ac:chgData name="Courtney Tenhover" userId="ae2cf505-6387-4cc4-9e8f-d6c2096d9cc9" providerId="ADAL" clId="{059FCE32-2B41-44BF-BDDE-33ADBFBB8052}" dt="2025-04-14T19:53:57.228" v="124" actId="478"/>
          <ac:picMkLst>
            <pc:docMk/>
            <pc:sldMk cId="3180746199" sldId="2147468194"/>
            <ac:picMk id="9" creationId="{9B62D3D9-5B44-4404-8CF1-B49497CBEF5C}"/>
          </ac:picMkLst>
        </pc:picChg>
        <pc:picChg chg="del">
          <ac:chgData name="Courtney Tenhover" userId="ae2cf505-6387-4cc4-9e8f-d6c2096d9cc9" providerId="ADAL" clId="{059FCE32-2B41-44BF-BDDE-33ADBFBB8052}" dt="2025-04-14T19:53:56.569" v="123" actId="478"/>
          <ac:picMkLst>
            <pc:docMk/>
            <pc:sldMk cId="3180746199" sldId="2147468194"/>
            <ac:picMk id="11" creationId="{1DA776F5-973A-419F-B436-365F805C8E19}"/>
          </ac:picMkLst>
        </pc:picChg>
      </pc:sldChg>
      <pc:sldChg chg="addSp delSp modSp add mod ord modNotesTx">
        <pc:chgData name="Courtney Tenhover" userId="ae2cf505-6387-4cc4-9e8f-d6c2096d9cc9" providerId="ADAL" clId="{059FCE32-2B41-44BF-BDDE-33ADBFBB8052}" dt="2025-04-15T12:06:26.707" v="1338" actId="113"/>
        <pc:sldMkLst>
          <pc:docMk/>
          <pc:sldMk cId="1872409536" sldId="2147468196"/>
        </pc:sldMkLst>
        <pc:spChg chg="add mod">
          <ac:chgData name="Courtney Tenhover" userId="ae2cf505-6387-4cc4-9e8f-d6c2096d9cc9" providerId="ADAL" clId="{059FCE32-2B41-44BF-BDDE-33ADBFBB8052}" dt="2025-04-15T12:06:26.707" v="1338" actId="113"/>
          <ac:spMkLst>
            <pc:docMk/>
            <pc:sldMk cId="1872409536" sldId="2147468196"/>
            <ac:spMk id="3" creationId="{04DF0E53-7A56-4749-A37D-83315740F715}"/>
          </ac:spMkLst>
        </pc:spChg>
        <pc:spChg chg="mod">
          <ac:chgData name="Courtney Tenhover" userId="ae2cf505-6387-4cc4-9e8f-d6c2096d9cc9" providerId="ADAL" clId="{059FCE32-2B41-44BF-BDDE-33ADBFBB8052}" dt="2025-04-14T20:36:58.266" v="853" actId="1076"/>
          <ac:spMkLst>
            <pc:docMk/>
            <pc:sldMk cId="1872409536" sldId="2147468196"/>
            <ac:spMk id="8" creationId="{7D5855B0-C4B5-487B-8555-94B567121885}"/>
          </ac:spMkLst>
        </pc:spChg>
        <pc:spChg chg="del">
          <ac:chgData name="Courtney Tenhover" userId="ae2cf505-6387-4cc4-9e8f-d6c2096d9cc9" providerId="ADAL" clId="{059FCE32-2B41-44BF-BDDE-33ADBFBB8052}" dt="2025-04-14T20:30:44.497" v="835" actId="478"/>
          <ac:spMkLst>
            <pc:docMk/>
            <pc:sldMk cId="1872409536" sldId="2147468196"/>
            <ac:spMk id="35" creationId="{00000000-0000-0000-0000-000000000000}"/>
          </ac:spMkLst>
        </pc:spChg>
        <pc:picChg chg="add mod">
          <ac:chgData name="Courtney Tenhover" userId="ae2cf505-6387-4cc4-9e8f-d6c2096d9cc9" providerId="ADAL" clId="{059FCE32-2B41-44BF-BDDE-33ADBFBB8052}" dt="2025-04-15T12:06:10.268" v="1334"/>
          <ac:picMkLst>
            <pc:docMk/>
            <pc:sldMk cId="1872409536" sldId="2147468196"/>
            <ac:picMk id="5" creationId="{8C4C333D-68CC-4EEE-B43F-1A96C887C675}"/>
          </ac:picMkLst>
        </pc:picChg>
        <pc:picChg chg="add mod modCrop">
          <ac:chgData name="Courtney Tenhover" userId="ae2cf505-6387-4cc4-9e8f-d6c2096d9cc9" providerId="ADAL" clId="{059FCE32-2B41-44BF-BDDE-33ADBFBB8052}" dt="2025-04-15T12:06:00.162" v="1331" actId="1076"/>
          <ac:picMkLst>
            <pc:docMk/>
            <pc:sldMk cId="1872409536" sldId="2147468196"/>
            <ac:picMk id="7" creationId="{D1D1DBAA-D4F3-4F93-BB4A-62E77D59D45D}"/>
          </ac:picMkLst>
        </pc:picChg>
        <pc:picChg chg="add mod modCrop">
          <ac:chgData name="Courtney Tenhover" userId="ae2cf505-6387-4cc4-9e8f-d6c2096d9cc9" providerId="ADAL" clId="{059FCE32-2B41-44BF-BDDE-33ADBFBB8052}" dt="2025-04-15T12:06:04.071" v="1332" actId="1076"/>
          <ac:picMkLst>
            <pc:docMk/>
            <pc:sldMk cId="1872409536" sldId="2147468196"/>
            <ac:picMk id="10" creationId="{F37E6886-D9F7-45C1-A24F-9ED67CF26BFF}"/>
          </ac:picMkLst>
        </pc:picChg>
        <pc:picChg chg="add mod">
          <ac:chgData name="Courtney Tenhover" userId="ae2cf505-6387-4cc4-9e8f-d6c2096d9cc9" providerId="ADAL" clId="{059FCE32-2B41-44BF-BDDE-33ADBFBB8052}" dt="2025-04-15T12:06:14.447" v="1336" actId="1076"/>
          <ac:picMkLst>
            <pc:docMk/>
            <pc:sldMk cId="1872409536" sldId="2147468196"/>
            <ac:picMk id="12" creationId="{F5045762-3A3C-4B26-BF80-CCD59B653FCA}"/>
          </ac:picMkLst>
        </pc:picChg>
        <pc:picChg chg="del">
          <ac:chgData name="Courtney Tenhover" userId="ae2cf505-6387-4cc4-9e8f-d6c2096d9cc9" providerId="ADAL" clId="{059FCE32-2B41-44BF-BDDE-33ADBFBB8052}" dt="2025-04-14T20:16:08.722" v="692" actId="478"/>
          <ac:picMkLst>
            <pc:docMk/>
            <pc:sldMk cId="1872409536" sldId="2147468196"/>
            <ac:picMk id="36" creationId="{E4C689E3-9A9A-4E68-813E-7E223B3E8E16}"/>
          </ac:picMkLst>
        </pc:picChg>
        <pc:picChg chg="del">
          <ac:chgData name="Courtney Tenhover" userId="ae2cf505-6387-4cc4-9e8f-d6c2096d9cc9" providerId="ADAL" clId="{059FCE32-2B41-44BF-BDDE-33ADBFBB8052}" dt="2025-04-14T20:16:07.210" v="691" actId="478"/>
          <ac:picMkLst>
            <pc:docMk/>
            <pc:sldMk cId="1872409536" sldId="2147468196"/>
            <ac:picMk id="2050" creationId="{B6BC7F32-7E06-418F-B02A-BA95E8C2BA6A}"/>
          </ac:picMkLst>
        </pc:picChg>
      </pc:sldChg>
      <pc:sldChg chg="addSp delSp modSp add mod">
        <pc:chgData name="Courtney Tenhover" userId="ae2cf505-6387-4cc4-9e8f-d6c2096d9cc9" providerId="ADAL" clId="{059FCE32-2B41-44BF-BDDE-33ADBFBB8052}" dt="2025-04-15T12:07:12.894" v="1354" actId="1035"/>
        <pc:sldMkLst>
          <pc:docMk/>
          <pc:sldMk cId="2406507340" sldId="2147468197"/>
        </pc:sldMkLst>
        <pc:spChg chg="mod ord">
          <ac:chgData name="Courtney Tenhover" userId="ae2cf505-6387-4cc4-9e8f-d6c2096d9cc9" providerId="ADAL" clId="{059FCE32-2B41-44BF-BDDE-33ADBFBB8052}" dt="2025-04-15T12:07:12.894" v="1354" actId="1035"/>
          <ac:spMkLst>
            <pc:docMk/>
            <pc:sldMk cId="2406507340" sldId="2147468197"/>
            <ac:spMk id="2" creationId="{00000000-0000-0000-0000-000000000000}"/>
          </ac:spMkLst>
        </pc:spChg>
        <pc:spChg chg="del">
          <ac:chgData name="Courtney Tenhover" userId="ae2cf505-6387-4cc4-9e8f-d6c2096d9cc9" providerId="ADAL" clId="{059FCE32-2B41-44BF-BDDE-33ADBFBB8052}" dt="2025-04-14T20:37:09.174" v="855" actId="478"/>
          <ac:spMkLst>
            <pc:docMk/>
            <pc:sldMk cId="2406507340" sldId="2147468197"/>
            <ac:spMk id="3" creationId="{04DF0E53-7A56-4749-A37D-83315740F715}"/>
          </ac:spMkLst>
        </pc:spChg>
        <pc:spChg chg="add mod">
          <ac:chgData name="Courtney Tenhover" userId="ae2cf505-6387-4cc4-9e8f-d6c2096d9cc9" providerId="ADAL" clId="{059FCE32-2B41-44BF-BDDE-33ADBFBB8052}" dt="2025-04-15T12:07:06.119" v="1350" actId="20577"/>
          <ac:spMkLst>
            <pc:docMk/>
            <pc:sldMk cId="2406507340" sldId="2147468197"/>
            <ac:spMk id="4" creationId="{F1157732-6C45-4885-A8DE-8584059A281A}"/>
          </ac:spMkLst>
        </pc:spChg>
        <pc:spChg chg="add mod">
          <ac:chgData name="Courtney Tenhover" userId="ae2cf505-6387-4cc4-9e8f-d6c2096d9cc9" providerId="ADAL" clId="{059FCE32-2B41-44BF-BDDE-33ADBFBB8052}" dt="2025-04-15T12:07:09.726" v="1351" actId="1076"/>
          <ac:spMkLst>
            <pc:docMk/>
            <pc:sldMk cId="2406507340" sldId="2147468197"/>
            <ac:spMk id="6" creationId="{17064F91-D74D-455F-A4BE-58295E2878F1}"/>
          </ac:spMkLst>
        </pc:spChg>
        <pc:spChg chg="del mod">
          <ac:chgData name="Courtney Tenhover" userId="ae2cf505-6387-4cc4-9e8f-d6c2096d9cc9" providerId="ADAL" clId="{059FCE32-2B41-44BF-BDDE-33ADBFBB8052}" dt="2025-04-14T20:37:15.238" v="860" actId="478"/>
          <ac:spMkLst>
            <pc:docMk/>
            <pc:sldMk cId="2406507340" sldId="2147468197"/>
            <ac:spMk id="8" creationId="{7D5855B0-C4B5-487B-8555-94B567121885}"/>
          </ac:spMkLst>
        </pc:spChg>
        <pc:spChg chg="add del mod">
          <ac:chgData name="Courtney Tenhover" userId="ae2cf505-6387-4cc4-9e8f-d6c2096d9cc9" providerId="ADAL" clId="{059FCE32-2B41-44BF-BDDE-33ADBFBB8052}" dt="2025-04-14T20:42:07.962" v="1052" actId="478"/>
          <ac:spMkLst>
            <pc:docMk/>
            <pc:sldMk cId="2406507340" sldId="2147468197"/>
            <ac:spMk id="9" creationId="{B4278766-76AD-4DFC-91A1-79A9B191BEC4}"/>
          </ac:spMkLst>
        </pc:spChg>
        <pc:picChg chg="del">
          <ac:chgData name="Courtney Tenhover" userId="ae2cf505-6387-4cc4-9e8f-d6c2096d9cc9" providerId="ADAL" clId="{059FCE32-2B41-44BF-BDDE-33ADBFBB8052}" dt="2025-04-14T20:37:10.285" v="857" actId="478"/>
          <ac:picMkLst>
            <pc:docMk/>
            <pc:sldMk cId="2406507340" sldId="2147468197"/>
            <ac:picMk id="5" creationId="{8C4C333D-68CC-4EEE-B43F-1A96C887C675}"/>
          </ac:picMkLst>
        </pc:picChg>
        <pc:picChg chg="del">
          <ac:chgData name="Courtney Tenhover" userId="ae2cf505-6387-4cc4-9e8f-d6c2096d9cc9" providerId="ADAL" clId="{059FCE32-2B41-44BF-BDDE-33ADBFBB8052}" dt="2025-04-14T20:37:10.712" v="858" actId="478"/>
          <ac:picMkLst>
            <pc:docMk/>
            <pc:sldMk cId="2406507340" sldId="2147468197"/>
            <ac:picMk id="7" creationId="{D1D1DBAA-D4F3-4F93-BB4A-62E77D59D45D}"/>
          </ac:picMkLst>
        </pc:picChg>
        <pc:picChg chg="del">
          <ac:chgData name="Courtney Tenhover" userId="ae2cf505-6387-4cc4-9e8f-d6c2096d9cc9" providerId="ADAL" clId="{059FCE32-2B41-44BF-BDDE-33ADBFBB8052}" dt="2025-04-14T20:37:09.773" v="856" actId="478"/>
          <ac:picMkLst>
            <pc:docMk/>
            <pc:sldMk cId="2406507340" sldId="2147468197"/>
            <ac:picMk id="10" creationId="{F37E6886-D9F7-45C1-A24F-9ED67CF26BFF}"/>
          </ac:picMkLst>
        </pc:picChg>
        <pc:picChg chg="add mod ord">
          <ac:chgData name="Courtney Tenhover" userId="ae2cf505-6387-4cc4-9e8f-d6c2096d9cc9" providerId="ADAL" clId="{059FCE32-2B41-44BF-BDDE-33ADBFBB8052}" dt="2025-04-14T20:48:23.801" v="1158" actId="1582"/>
          <ac:picMkLst>
            <pc:docMk/>
            <pc:sldMk cId="2406507340" sldId="2147468197"/>
            <ac:picMk id="12" creationId="{F1A125DD-F757-4D18-B7C8-53712B93C693}"/>
          </ac:picMkLst>
        </pc:picChg>
        <pc:picChg chg="add del">
          <ac:chgData name="Courtney Tenhover" userId="ae2cf505-6387-4cc4-9e8f-d6c2096d9cc9" providerId="ADAL" clId="{059FCE32-2B41-44BF-BDDE-33ADBFBB8052}" dt="2025-04-14T23:32:20.244" v="1169" actId="22"/>
          <ac:picMkLst>
            <pc:docMk/>
            <pc:sldMk cId="2406507340" sldId="2147468197"/>
            <ac:picMk id="14" creationId="{FC9EC98A-76BC-4EE3-A6E6-528C9AE6A2E5}"/>
          </ac:picMkLst>
        </pc:picChg>
        <pc:picChg chg="add del mod">
          <ac:chgData name="Courtney Tenhover" userId="ae2cf505-6387-4cc4-9e8f-d6c2096d9cc9" providerId="ADAL" clId="{059FCE32-2B41-44BF-BDDE-33ADBFBB8052}" dt="2025-04-14T20:46:24.237" v="1121" actId="478"/>
          <ac:picMkLst>
            <pc:docMk/>
            <pc:sldMk cId="2406507340" sldId="2147468197"/>
            <ac:picMk id="2050" creationId="{AB07CCF7-D749-47C6-AF6A-B8F5D6B2A40A}"/>
          </ac:picMkLst>
        </pc:picChg>
      </pc:sldChg>
      <pc:sldChg chg="modSp add mod">
        <pc:chgData name="Courtney Tenhover" userId="ae2cf505-6387-4cc4-9e8f-d6c2096d9cc9" providerId="ADAL" clId="{059FCE32-2B41-44BF-BDDE-33ADBFBB8052}" dt="2025-04-15T12:07:37.477" v="1358" actId="1076"/>
        <pc:sldMkLst>
          <pc:docMk/>
          <pc:sldMk cId="1852842187" sldId="2147468198"/>
        </pc:sldMkLst>
        <pc:picChg chg="mod">
          <ac:chgData name="Courtney Tenhover" userId="ae2cf505-6387-4cc4-9e8f-d6c2096d9cc9" providerId="ADAL" clId="{059FCE32-2B41-44BF-BDDE-33ADBFBB8052}" dt="2025-04-15T12:07:37.477" v="1358" actId="1076"/>
          <ac:picMkLst>
            <pc:docMk/>
            <pc:sldMk cId="1852842187" sldId="2147468198"/>
            <ac:picMk id="36" creationId="{E4C689E3-9A9A-4E68-813E-7E223B3E8E16}"/>
          </ac:picMkLst>
        </pc:picChg>
      </pc:sldChg>
      <pc:sldChg chg="addSp delSp modSp add mod">
        <pc:chgData name="Courtney Tenhover" userId="ae2cf505-6387-4cc4-9e8f-d6c2096d9cc9" providerId="ADAL" clId="{059FCE32-2B41-44BF-BDDE-33ADBFBB8052}" dt="2025-04-14T23:37:51.042" v="1259" actId="1038"/>
        <pc:sldMkLst>
          <pc:docMk/>
          <pc:sldMk cId="3973564033" sldId="2147468199"/>
        </pc:sldMkLst>
        <pc:grpChg chg="mod">
          <ac:chgData name="Courtney Tenhover" userId="ae2cf505-6387-4cc4-9e8f-d6c2096d9cc9" providerId="ADAL" clId="{059FCE32-2B41-44BF-BDDE-33ADBFBB8052}" dt="2025-04-14T23:37:47.180" v="1254" actId="1036"/>
          <ac:grpSpMkLst>
            <pc:docMk/>
            <pc:sldMk cId="3973564033" sldId="2147468199"/>
            <ac:grpSpMk id="26" creationId="{00000000-0000-0000-0000-000000000000}"/>
          </ac:grpSpMkLst>
        </pc:grpChg>
        <pc:grpChg chg="mod">
          <ac:chgData name="Courtney Tenhover" userId="ae2cf505-6387-4cc4-9e8f-d6c2096d9cc9" providerId="ADAL" clId="{059FCE32-2B41-44BF-BDDE-33ADBFBB8052}" dt="2025-04-14T23:37:47.180" v="1254" actId="1036"/>
          <ac:grpSpMkLst>
            <pc:docMk/>
            <pc:sldMk cId="3973564033" sldId="2147468199"/>
            <ac:grpSpMk id="29" creationId="{00000000-0000-0000-0000-000000000000}"/>
          </ac:grpSpMkLst>
        </pc:grpChg>
        <pc:picChg chg="add mod modCrop">
          <ac:chgData name="Courtney Tenhover" userId="ae2cf505-6387-4cc4-9e8f-d6c2096d9cc9" providerId="ADAL" clId="{059FCE32-2B41-44BF-BDDE-33ADBFBB8052}" dt="2025-04-14T23:37:51.042" v="1259" actId="1038"/>
          <ac:picMkLst>
            <pc:docMk/>
            <pc:sldMk cId="3973564033" sldId="2147468199"/>
            <ac:picMk id="4" creationId="{D202988A-D844-4BA7-8B60-A0BD4B372CA3}"/>
          </ac:picMkLst>
        </pc:picChg>
        <pc:picChg chg="del">
          <ac:chgData name="Courtney Tenhover" userId="ae2cf505-6387-4cc4-9e8f-d6c2096d9cc9" providerId="ADAL" clId="{059FCE32-2B41-44BF-BDDE-33ADBFBB8052}" dt="2025-04-14T23:33:53.946" v="1188" actId="478"/>
          <ac:picMkLst>
            <pc:docMk/>
            <pc:sldMk cId="3973564033" sldId="2147468199"/>
            <ac:picMk id="5" creationId="{19E007F1-CD7C-47F0-BE90-52583A2CBA6F}"/>
          </ac:picMkLst>
        </pc:picChg>
      </pc:sldChg>
      <pc:sldChg chg="add">
        <pc:chgData name="Courtney Tenhover" userId="ae2cf505-6387-4cc4-9e8f-d6c2096d9cc9" providerId="ADAL" clId="{059FCE32-2B41-44BF-BDDE-33ADBFBB8052}" dt="2025-04-14T23:38:22.673" v="1260" actId="2890"/>
        <pc:sldMkLst>
          <pc:docMk/>
          <pc:sldMk cId="3630310611" sldId="2147468200"/>
        </pc:sldMkLst>
      </pc:sldChg>
      <pc:sldChg chg="addSp delSp modSp add mod modNotesTx">
        <pc:chgData name="Courtney Tenhover" userId="ae2cf505-6387-4cc4-9e8f-d6c2096d9cc9" providerId="ADAL" clId="{059FCE32-2B41-44BF-BDDE-33ADBFBB8052}" dt="2025-04-15T12:10:02.520" v="1425" actId="1076"/>
        <pc:sldMkLst>
          <pc:docMk/>
          <pc:sldMk cId="2966763102" sldId="2147468201"/>
        </pc:sldMkLst>
        <pc:spChg chg="mod">
          <ac:chgData name="Courtney Tenhover" userId="ae2cf505-6387-4cc4-9e8f-d6c2096d9cc9" providerId="ADAL" clId="{059FCE32-2B41-44BF-BDDE-33ADBFBB8052}" dt="2025-04-15T12:09:17.791" v="1421" actId="20577"/>
          <ac:spMkLst>
            <pc:docMk/>
            <pc:sldMk cId="2966763102" sldId="2147468201"/>
            <ac:spMk id="38" creationId="{00000000-0000-0000-0000-000000000000}"/>
          </ac:spMkLst>
        </pc:spChg>
        <pc:picChg chg="del">
          <ac:chgData name="Courtney Tenhover" userId="ae2cf505-6387-4cc4-9e8f-d6c2096d9cc9" providerId="ADAL" clId="{059FCE32-2B41-44BF-BDDE-33ADBFBB8052}" dt="2025-04-15T12:08:02.112" v="1385" actId="478"/>
          <ac:picMkLst>
            <pc:docMk/>
            <pc:sldMk cId="2966763102" sldId="2147468201"/>
            <ac:picMk id="1026" creationId="{E02EDD9C-39F5-4AC6-A25C-7924B3C34943}"/>
          </ac:picMkLst>
        </pc:picChg>
        <pc:picChg chg="add mod">
          <ac:chgData name="Courtney Tenhover" userId="ae2cf505-6387-4cc4-9e8f-d6c2096d9cc9" providerId="ADAL" clId="{059FCE32-2B41-44BF-BDDE-33ADBFBB8052}" dt="2025-04-15T12:10:02.520" v="1425" actId="1076"/>
          <ac:picMkLst>
            <pc:docMk/>
            <pc:sldMk cId="2966763102" sldId="2147468201"/>
            <ac:picMk id="3074" creationId="{FD5CC2AE-A9E5-4E55-BDE7-9E3901CEED6F}"/>
          </ac:picMkLst>
        </pc:picChg>
      </pc:sldChg>
      <pc:sldMasterChg chg="del delSldLayout">
        <pc:chgData name="Courtney Tenhover" userId="ae2cf505-6387-4cc4-9e8f-d6c2096d9cc9" providerId="ADAL" clId="{059FCE32-2B41-44BF-BDDE-33ADBFBB8052}" dt="2025-04-14T20:00:13.737" v="323" actId="47"/>
        <pc:sldMasterMkLst>
          <pc:docMk/>
          <pc:sldMasterMk cId="274459106" sldId="2147483672"/>
        </pc:sldMasterMkLst>
        <pc:sldLayoutChg chg="del">
          <pc:chgData name="Courtney Tenhover" userId="ae2cf505-6387-4cc4-9e8f-d6c2096d9cc9" providerId="ADAL" clId="{059FCE32-2B41-44BF-BDDE-33ADBFBB8052}" dt="2025-04-14T20:00:13.737" v="323" actId="47"/>
          <pc:sldLayoutMkLst>
            <pc:docMk/>
            <pc:sldMasterMk cId="274459106" sldId="2147483672"/>
            <pc:sldLayoutMk cId="2453173049" sldId="2147483673"/>
          </pc:sldLayoutMkLst>
        </pc:sldLayoutChg>
        <pc:sldLayoutChg chg="del">
          <pc:chgData name="Courtney Tenhover" userId="ae2cf505-6387-4cc4-9e8f-d6c2096d9cc9" providerId="ADAL" clId="{059FCE32-2B41-44BF-BDDE-33ADBFBB8052}" dt="2025-04-14T20:00:13.737" v="323" actId="47"/>
          <pc:sldLayoutMkLst>
            <pc:docMk/>
            <pc:sldMasterMk cId="274459106" sldId="2147483672"/>
            <pc:sldLayoutMk cId="3081712778" sldId="2147483674"/>
          </pc:sldLayoutMkLst>
        </pc:sldLayoutChg>
        <pc:sldLayoutChg chg="del">
          <pc:chgData name="Courtney Tenhover" userId="ae2cf505-6387-4cc4-9e8f-d6c2096d9cc9" providerId="ADAL" clId="{059FCE32-2B41-44BF-BDDE-33ADBFBB8052}" dt="2025-04-14T20:00:13.737" v="323" actId="47"/>
          <pc:sldLayoutMkLst>
            <pc:docMk/>
            <pc:sldMasterMk cId="274459106" sldId="2147483672"/>
            <pc:sldLayoutMk cId="1901680783" sldId="2147483675"/>
          </pc:sldLayoutMkLst>
        </pc:sldLayoutChg>
        <pc:sldLayoutChg chg="del">
          <pc:chgData name="Courtney Tenhover" userId="ae2cf505-6387-4cc4-9e8f-d6c2096d9cc9" providerId="ADAL" clId="{059FCE32-2B41-44BF-BDDE-33ADBFBB8052}" dt="2025-04-14T20:00:13.737" v="323" actId="47"/>
          <pc:sldLayoutMkLst>
            <pc:docMk/>
            <pc:sldMasterMk cId="274459106" sldId="2147483672"/>
            <pc:sldLayoutMk cId="717352370" sldId="2147483676"/>
          </pc:sldLayoutMkLst>
        </pc:sldLayoutChg>
        <pc:sldLayoutChg chg="del">
          <pc:chgData name="Courtney Tenhover" userId="ae2cf505-6387-4cc4-9e8f-d6c2096d9cc9" providerId="ADAL" clId="{059FCE32-2B41-44BF-BDDE-33ADBFBB8052}" dt="2025-04-14T20:00:13.737" v="323" actId="47"/>
          <pc:sldLayoutMkLst>
            <pc:docMk/>
            <pc:sldMasterMk cId="274459106" sldId="2147483672"/>
            <pc:sldLayoutMk cId="2332625012" sldId="2147483677"/>
          </pc:sldLayoutMkLst>
        </pc:sldLayoutChg>
        <pc:sldLayoutChg chg="del">
          <pc:chgData name="Courtney Tenhover" userId="ae2cf505-6387-4cc4-9e8f-d6c2096d9cc9" providerId="ADAL" clId="{059FCE32-2B41-44BF-BDDE-33ADBFBB8052}" dt="2025-04-14T20:00:13.737" v="323" actId="47"/>
          <pc:sldLayoutMkLst>
            <pc:docMk/>
            <pc:sldMasterMk cId="274459106" sldId="2147483672"/>
            <pc:sldLayoutMk cId="2588942389" sldId="2147483678"/>
          </pc:sldLayoutMkLst>
        </pc:sldLayoutChg>
        <pc:sldLayoutChg chg="del">
          <pc:chgData name="Courtney Tenhover" userId="ae2cf505-6387-4cc4-9e8f-d6c2096d9cc9" providerId="ADAL" clId="{059FCE32-2B41-44BF-BDDE-33ADBFBB8052}" dt="2025-04-14T20:00:13.737" v="323" actId="47"/>
          <pc:sldLayoutMkLst>
            <pc:docMk/>
            <pc:sldMasterMk cId="274459106" sldId="2147483672"/>
            <pc:sldLayoutMk cId="1639466825" sldId="2147483679"/>
          </pc:sldLayoutMkLst>
        </pc:sldLayoutChg>
        <pc:sldLayoutChg chg="del">
          <pc:chgData name="Courtney Tenhover" userId="ae2cf505-6387-4cc4-9e8f-d6c2096d9cc9" providerId="ADAL" clId="{059FCE32-2B41-44BF-BDDE-33ADBFBB8052}" dt="2025-04-14T20:00:13.737" v="323" actId="47"/>
          <pc:sldLayoutMkLst>
            <pc:docMk/>
            <pc:sldMasterMk cId="274459106" sldId="2147483672"/>
            <pc:sldLayoutMk cId="794633488" sldId="2147483680"/>
          </pc:sldLayoutMkLst>
        </pc:sldLayoutChg>
        <pc:sldLayoutChg chg="del">
          <pc:chgData name="Courtney Tenhover" userId="ae2cf505-6387-4cc4-9e8f-d6c2096d9cc9" providerId="ADAL" clId="{059FCE32-2B41-44BF-BDDE-33ADBFBB8052}" dt="2025-04-14T20:00:13.737" v="323" actId="47"/>
          <pc:sldLayoutMkLst>
            <pc:docMk/>
            <pc:sldMasterMk cId="274459106" sldId="2147483672"/>
            <pc:sldLayoutMk cId="3781750822" sldId="2147483681"/>
          </pc:sldLayoutMkLst>
        </pc:sldLayoutChg>
        <pc:sldLayoutChg chg="del">
          <pc:chgData name="Courtney Tenhover" userId="ae2cf505-6387-4cc4-9e8f-d6c2096d9cc9" providerId="ADAL" clId="{059FCE32-2B41-44BF-BDDE-33ADBFBB8052}" dt="2025-04-14T20:00:13.737" v="323" actId="47"/>
          <pc:sldLayoutMkLst>
            <pc:docMk/>
            <pc:sldMasterMk cId="274459106" sldId="2147483672"/>
            <pc:sldLayoutMk cId="1326788658" sldId="2147483682"/>
          </pc:sldLayoutMkLst>
        </pc:sldLayoutChg>
        <pc:sldLayoutChg chg="del">
          <pc:chgData name="Courtney Tenhover" userId="ae2cf505-6387-4cc4-9e8f-d6c2096d9cc9" providerId="ADAL" clId="{059FCE32-2B41-44BF-BDDE-33ADBFBB8052}" dt="2025-04-14T20:00:13.737" v="323" actId="47"/>
          <pc:sldLayoutMkLst>
            <pc:docMk/>
            <pc:sldMasterMk cId="274459106" sldId="2147483672"/>
            <pc:sldLayoutMk cId="2968346059" sldId="2147483683"/>
          </pc:sldLayoutMkLst>
        </pc:sldLayoutChg>
      </pc:sldMasterChg>
      <pc:sldMasterChg chg="del delSldLayout">
        <pc:chgData name="Courtney Tenhover" userId="ae2cf505-6387-4cc4-9e8f-d6c2096d9cc9" providerId="ADAL" clId="{059FCE32-2B41-44BF-BDDE-33ADBFBB8052}" dt="2025-04-14T20:00:00.052" v="300" actId="47"/>
        <pc:sldMasterMkLst>
          <pc:docMk/>
          <pc:sldMasterMk cId="2651318883" sldId="2147483684"/>
        </pc:sldMasterMkLst>
        <pc:sldLayoutChg chg="del">
          <pc:chgData name="Courtney Tenhover" userId="ae2cf505-6387-4cc4-9e8f-d6c2096d9cc9" providerId="ADAL" clId="{059FCE32-2B41-44BF-BDDE-33ADBFBB8052}" dt="2025-04-14T20:00:00.052" v="300" actId="47"/>
          <pc:sldLayoutMkLst>
            <pc:docMk/>
            <pc:sldMasterMk cId="2651318883" sldId="2147483684"/>
            <pc:sldLayoutMk cId="2570819151" sldId="2147483685"/>
          </pc:sldLayoutMkLst>
        </pc:sldLayoutChg>
        <pc:sldLayoutChg chg="del">
          <pc:chgData name="Courtney Tenhover" userId="ae2cf505-6387-4cc4-9e8f-d6c2096d9cc9" providerId="ADAL" clId="{059FCE32-2B41-44BF-BDDE-33ADBFBB8052}" dt="2025-04-14T20:00:00.052" v="300" actId="47"/>
          <pc:sldLayoutMkLst>
            <pc:docMk/>
            <pc:sldMasterMk cId="2651318883" sldId="2147483684"/>
            <pc:sldLayoutMk cId="127822925" sldId="2147483686"/>
          </pc:sldLayoutMkLst>
        </pc:sldLayoutChg>
        <pc:sldLayoutChg chg="del">
          <pc:chgData name="Courtney Tenhover" userId="ae2cf505-6387-4cc4-9e8f-d6c2096d9cc9" providerId="ADAL" clId="{059FCE32-2B41-44BF-BDDE-33ADBFBB8052}" dt="2025-04-14T20:00:00.052" v="300" actId="47"/>
          <pc:sldLayoutMkLst>
            <pc:docMk/>
            <pc:sldMasterMk cId="2651318883" sldId="2147483684"/>
            <pc:sldLayoutMk cId="895475122" sldId="2147483687"/>
          </pc:sldLayoutMkLst>
        </pc:sldLayoutChg>
        <pc:sldLayoutChg chg="del">
          <pc:chgData name="Courtney Tenhover" userId="ae2cf505-6387-4cc4-9e8f-d6c2096d9cc9" providerId="ADAL" clId="{059FCE32-2B41-44BF-BDDE-33ADBFBB8052}" dt="2025-04-14T20:00:00.052" v="300" actId="47"/>
          <pc:sldLayoutMkLst>
            <pc:docMk/>
            <pc:sldMasterMk cId="2651318883" sldId="2147483684"/>
            <pc:sldLayoutMk cId="2978191124" sldId="2147483688"/>
          </pc:sldLayoutMkLst>
        </pc:sldLayoutChg>
        <pc:sldLayoutChg chg="del">
          <pc:chgData name="Courtney Tenhover" userId="ae2cf505-6387-4cc4-9e8f-d6c2096d9cc9" providerId="ADAL" clId="{059FCE32-2B41-44BF-BDDE-33ADBFBB8052}" dt="2025-04-14T20:00:00.052" v="300" actId="47"/>
          <pc:sldLayoutMkLst>
            <pc:docMk/>
            <pc:sldMasterMk cId="2651318883" sldId="2147483684"/>
            <pc:sldLayoutMk cId="384220372" sldId="2147483689"/>
          </pc:sldLayoutMkLst>
        </pc:sldLayoutChg>
        <pc:sldLayoutChg chg="del">
          <pc:chgData name="Courtney Tenhover" userId="ae2cf505-6387-4cc4-9e8f-d6c2096d9cc9" providerId="ADAL" clId="{059FCE32-2B41-44BF-BDDE-33ADBFBB8052}" dt="2025-04-14T20:00:00.052" v="300" actId="47"/>
          <pc:sldLayoutMkLst>
            <pc:docMk/>
            <pc:sldMasterMk cId="2651318883" sldId="2147483684"/>
            <pc:sldLayoutMk cId="3335913085" sldId="2147483690"/>
          </pc:sldLayoutMkLst>
        </pc:sldLayoutChg>
        <pc:sldLayoutChg chg="del">
          <pc:chgData name="Courtney Tenhover" userId="ae2cf505-6387-4cc4-9e8f-d6c2096d9cc9" providerId="ADAL" clId="{059FCE32-2B41-44BF-BDDE-33ADBFBB8052}" dt="2025-04-14T20:00:00.052" v="300" actId="47"/>
          <pc:sldLayoutMkLst>
            <pc:docMk/>
            <pc:sldMasterMk cId="2651318883" sldId="2147483684"/>
            <pc:sldLayoutMk cId="444455759" sldId="2147483691"/>
          </pc:sldLayoutMkLst>
        </pc:sldLayoutChg>
        <pc:sldLayoutChg chg="del">
          <pc:chgData name="Courtney Tenhover" userId="ae2cf505-6387-4cc4-9e8f-d6c2096d9cc9" providerId="ADAL" clId="{059FCE32-2B41-44BF-BDDE-33ADBFBB8052}" dt="2025-04-14T20:00:00.052" v="300" actId="47"/>
          <pc:sldLayoutMkLst>
            <pc:docMk/>
            <pc:sldMasterMk cId="2651318883" sldId="2147483684"/>
            <pc:sldLayoutMk cId="68418371" sldId="2147483692"/>
          </pc:sldLayoutMkLst>
        </pc:sldLayoutChg>
        <pc:sldLayoutChg chg="del">
          <pc:chgData name="Courtney Tenhover" userId="ae2cf505-6387-4cc4-9e8f-d6c2096d9cc9" providerId="ADAL" clId="{059FCE32-2B41-44BF-BDDE-33ADBFBB8052}" dt="2025-04-14T20:00:00.052" v="300" actId="47"/>
          <pc:sldLayoutMkLst>
            <pc:docMk/>
            <pc:sldMasterMk cId="2651318883" sldId="2147483684"/>
            <pc:sldLayoutMk cId="1233043067" sldId="2147483693"/>
          </pc:sldLayoutMkLst>
        </pc:sldLayoutChg>
        <pc:sldLayoutChg chg="del">
          <pc:chgData name="Courtney Tenhover" userId="ae2cf505-6387-4cc4-9e8f-d6c2096d9cc9" providerId="ADAL" clId="{059FCE32-2B41-44BF-BDDE-33ADBFBB8052}" dt="2025-04-14T20:00:00.052" v="300" actId="47"/>
          <pc:sldLayoutMkLst>
            <pc:docMk/>
            <pc:sldMasterMk cId="2651318883" sldId="2147483684"/>
            <pc:sldLayoutMk cId="1117570476" sldId="2147483694"/>
          </pc:sldLayoutMkLst>
        </pc:sldLayoutChg>
        <pc:sldLayoutChg chg="del">
          <pc:chgData name="Courtney Tenhover" userId="ae2cf505-6387-4cc4-9e8f-d6c2096d9cc9" providerId="ADAL" clId="{059FCE32-2B41-44BF-BDDE-33ADBFBB8052}" dt="2025-04-14T20:00:00.052" v="300" actId="47"/>
          <pc:sldLayoutMkLst>
            <pc:docMk/>
            <pc:sldMasterMk cId="2651318883" sldId="2147483684"/>
            <pc:sldLayoutMk cId="3262664073" sldId="2147483695"/>
          </pc:sldLayoutMkLst>
        </pc:sldLayoutChg>
      </pc:sldMasterChg>
      <pc:sldMasterChg chg="del delSldLayout">
        <pc:chgData name="Courtney Tenhover" userId="ae2cf505-6387-4cc4-9e8f-d6c2096d9cc9" providerId="ADAL" clId="{059FCE32-2B41-44BF-BDDE-33ADBFBB8052}" dt="2025-04-14T20:00:16.519" v="327" actId="47"/>
        <pc:sldMasterMkLst>
          <pc:docMk/>
          <pc:sldMasterMk cId="2579309754" sldId="2147483696"/>
        </pc:sldMasterMkLst>
        <pc:sldLayoutChg chg="del">
          <pc:chgData name="Courtney Tenhover" userId="ae2cf505-6387-4cc4-9e8f-d6c2096d9cc9" providerId="ADAL" clId="{059FCE32-2B41-44BF-BDDE-33ADBFBB8052}" dt="2025-04-14T20:00:16.519" v="327" actId="47"/>
          <pc:sldLayoutMkLst>
            <pc:docMk/>
            <pc:sldMasterMk cId="2579309754" sldId="2147483696"/>
            <pc:sldLayoutMk cId="2162006235" sldId="2147483697"/>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8007805" sldId="2147483698"/>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1449850281" sldId="2147483699"/>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3309049734" sldId="2147483700"/>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2109324314" sldId="2147483701"/>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3115536619" sldId="2147483702"/>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1320454180" sldId="2147483703"/>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270841933" sldId="2147483704"/>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3307044519" sldId="2147483705"/>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1571988670" sldId="2147483706"/>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4109828686" sldId="2147483707"/>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2833728049" sldId="2147483708"/>
          </pc:sldLayoutMkLst>
        </pc:sldLayoutChg>
        <pc:sldLayoutChg chg="del">
          <pc:chgData name="Courtney Tenhover" userId="ae2cf505-6387-4cc4-9e8f-d6c2096d9cc9" providerId="ADAL" clId="{059FCE32-2B41-44BF-BDDE-33ADBFBB8052}" dt="2025-04-14T20:00:16.519" v="327" actId="47"/>
          <pc:sldLayoutMkLst>
            <pc:docMk/>
            <pc:sldMasterMk cId="2579309754" sldId="2147483696"/>
            <pc:sldLayoutMk cId="784067032" sldId="2147483709"/>
          </pc:sldLayoutMkLst>
        </pc:sldLayoutChg>
      </pc:sldMasterChg>
      <pc:sldMasterChg chg="del delSldLayout">
        <pc:chgData name="Courtney Tenhover" userId="ae2cf505-6387-4cc4-9e8f-d6c2096d9cc9" providerId="ADAL" clId="{059FCE32-2B41-44BF-BDDE-33ADBFBB8052}" dt="2025-04-14T20:00:02.512" v="303" actId="47"/>
        <pc:sldMasterMkLst>
          <pc:docMk/>
          <pc:sldMasterMk cId="2764658745" sldId="2147483724"/>
        </pc:sldMasterMkLst>
        <pc:sldLayoutChg chg="del">
          <pc:chgData name="Courtney Tenhover" userId="ae2cf505-6387-4cc4-9e8f-d6c2096d9cc9" providerId="ADAL" clId="{059FCE32-2B41-44BF-BDDE-33ADBFBB8052}" dt="2025-04-14T20:00:02.512" v="303" actId="47"/>
          <pc:sldLayoutMkLst>
            <pc:docMk/>
            <pc:sldMasterMk cId="2764658745" sldId="2147483724"/>
            <pc:sldLayoutMk cId="915363680" sldId="2147483725"/>
          </pc:sldLayoutMkLst>
        </pc:sldLayoutChg>
        <pc:sldLayoutChg chg="del">
          <pc:chgData name="Courtney Tenhover" userId="ae2cf505-6387-4cc4-9e8f-d6c2096d9cc9" providerId="ADAL" clId="{059FCE32-2B41-44BF-BDDE-33ADBFBB8052}" dt="2025-04-14T20:00:02.512" v="303" actId="47"/>
          <pc:sldLayoutMkLst>
            <pc:docMk/>
            <pc:sldMasterMk cId="2764658745" sldId="2147483724"/>
            <pc:sldLayoutMk cId="1336700055" sldId="2147483726"/>
          </pc:sldLayoutMkLst>
        </pc:sldLayoutChg>
      </pc:sldMasterChg>
      <pc:sldMasterChg chg="del delSldLayout">
        <pc:chgData name="Courtney Tenhover" userId="ae2cf505-6387-4cc4-9e8f-d6c2096d9cc9" providerId="ADAL" clId="{059FCE32-2B41-44BF-BDDE-33ADBFBB8052}" dt="2025-04-14T20:00:04.438" v="306" actId="47"/>
        <pc:sldMasterMkLst>
          <pc:docMk/>
          <pc:sldMasterMk cId="2594262246" sldId="2147483727"/>
        </pc:sldMasterMkLst>
        <pc:sldLayoutChg chg="del">
          <pc:chgData name="Courtney Tenhover" userId="ae2cf505-6387-4cc4-9e8f-d6c2096d9cc9" providerId="ADAL" clId="{059FCE32-2B41-44BF-BDDE-33ADBFBB8052}" dt="2025-04-14T20:00:04.438" v="306" actId="47"/>
          <pc:sldLayoutMkLst>
            <pc:docMk/>
            <pc:sldMasterMk cId="2594262246" sldId="2147483727"/>
            <pc:sldLayoutMk cId="977779020" sldId="2147483728"/>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1767067769" sldId="2147483729"/>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1487361780" sldId="2147483730"/>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1928381412" sldId="2147483731"/>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3143688958" sldId="2147483732"/>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3776592900" sldId="2147483733"/>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2704387062" sldId="2147483734"/>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1472355302" sldId="2147483735"/>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3510039110" sldId="2147483736"/>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858005650" sldId="2147483737"/>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90939440" sldId="2147483738"/>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1432957948" sldId="2147483739"/>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3111467109" sldId="2147483740"/>
          </pc:sldLayoutMkLst>
        </pc:sldLayoutChg>
        <pc:sldLayoutChg chg="del">
          <pc:chgData name="Courtney Tenhover" userId="ae2cf505-6387-4cc4-9e8f-d6c2096d9cc9" providerId="ADAL" clId="{059FCE32-2B41-44BF-BDDE-33ADBFBB8052}" dt="2025-04-14T20:00:04.438" v="306" actId="47"/>
          <pc:sldLayoutMkLst>
            <pc:docMk/>
            <pc:sldMasterMk cId="2594262246" sldId="2147483727"/>
            <pc:sldLayoutMk cId="544540383" sldId="2147483741"/>
          </pc:sldLayoutMkLst>
        </pc:sldLayoutChg>
      </pc:sldMasterChg>
      <pc:sldMasterChg chg="del delSldLayout">
        <pc:chgData name="Courtney Tenhover" userId="ae2cf505-6387-4cc4-9e8f-d6c2096d9cc9" providerId="ADAL" clId="{059FCE32-2B41-44BF-BDDE-33ADBFBB8052}" dt="2025-04-14T20:00:09.489" v="314" actId="47"/>
        <pc:sldMasterMkLst>
          <pc:docMk/>
          <pc:sldMasterMk cId="2369307428" sldId="2147483742"/>
        </pc:sldMasterMkLst>
        <pc:sldLayoutChg chg="del">
          <pc:chgData name="Courtney Tenhover" userId="ae2cf505-6387-4cc4-9e8f-d6c2096d9cc9" providerId="ADAL" clId="{059FCE32-2B41-44BF-BDDE-33ADBFBB8052}" dt="2025-04-14T20:00:09.489" v="314" actId="47"/>
          <pc:sldLayoutMkLst>
            <pc:docMk/>
            <pc:sldMasterMk cId="2369307428" sldId="2147483742"/>
            <pc:sldLayoutMk cId="2860637473" sldId="2147483743"/>
          </pc:sldLayoutMkLst>
        </pc:sldLayoutChg>
        <pc:sldLayoutChg chg="del">
          <pc:chgData name="Courtney Tenhover" userId="ae2cf505-6387-4cc4-9e8f-d6c2096d9cc9" providerId="ADAL" clId="{059FCE32-2B41-44BF-BDDE-33ADBFBB8052}" dt="2025-04-14T20:00:09.489" v="314" actId="47"/>
          <pc:sldLayoutMkLst>
            <pc:docMk/>
            <pc:sldMasterMk cId="2369307428" sldId="2147483742"/>
            <pc:sldLayoutMk cId="3105777544" sldId="2147483744"/>
          </pc:sldLayoutMkLst>
        </pc:sldLayoutChg>
        <pc:sldLayoutChg chg="del">
          <pc:chgData name="Courtney Tenhover" userId="ae2cf505-6387-4cc4-9e8f-d6c2096d9cc9" providerId="ADAL" clId="{059FCE32-2B41-44BF-BDDE-33ADBFBB8052}" dt="2025-04-14T20:00:09.489" v="314" actId="47"/>
          <pc:sldLayoutMkLst>
            <pc:docMk/>
            <pc:sldMasterMk cId="2369307428" sldId="2147483742"/>
            <pc:sldLayoutMk cId="1003513150" sldId="2147483745"/>
          </pc:sldLayoutMkLst>
        </pc:sldLayoutChg>
        <pc:sldLayoutChg chg="del">
          <pc:chgData name="Courtney Tenhover" userId="ae2cf505-6387-4cc4-9e8f-d6c2096d9cc9" providerId="ADAL" clId="{059FCE32-2B41-44BF-BDDE-33ADBFBB8052}" dt="2025-04-14T20:00:09.489" v="314" actId="47"/>
          <pc:sldLayoutMkLst>
            <pc:docMk/>
            <pc:sldMasterMk cId="2369307428" sldId="2147483742"/>
            <pc:sldLayoutMk cId="185501740" sldId="2147483746"/>
          </pc:sldLayoutMkLst>
        </pc:sldLayoutChg>
        <pc:sldLayoutChg chg="del">
          <pc:chgData name="Courtney Tenhover" userId="ae2cf505-6387-4cc4-9e8f-d6c2096d9cc9" providerId="ADAL" clId="{059FCE32-2B41-44BF-BDDE-33ADBFBB8052}" dt="2025-04-14T20:00:09.489" v="314" actId="47"/>
          <pc:sldLayoutMkLst>
            <pc:docMk/>
            <pc:sldMasterMk cId="2369307428" sldId="2147483742"/>
            <pc:sldLayoutMk cId="1467579331" sldId="2147483747"/>
          </pc:sldLayoutMkLst>
        </pc:sldLayoutChg>
        <pc:sldLayoutChg chg="del">
          <pc:chgData name="Courtney Tenhover" userId="ae2cf505-6387-4cc4-9e8f-d6c2096d9cc9" providerId="ADAL" clId="{059FCE32-2B41-44BF-BDDE-33ADBFBB8052}" dt="2025-04-14T20:00:09.489" v="314" actId="47"/>
          <pc:sldLayoutMkLst>
            <pc:docMk/>
            <pc:sldMasterMk cId="2369307428" sldId="2147483742"/>
            <pc:sldLayoutMk cId="3751856248" sldId="2147483748"/>
          </pc:sldLayoutMkLst>
        </pc:sldLayoutChg>
        <pc:sldLayoutChg chg="del">
          <pc:chgData name="Courtney Tenhover" userId="ae2cf505-6387-4cc4-9e8f-d6c2096d9cc9" providerId="ADAL" clId="{059FCE32-2B41-44BF-BDDE-33ADBFBB8052}" dt="2025-04-14T20:00:09.489" v="314" actId="47"/>
          <pc:sldLayoutMkLst>
            <pc:docMk/>
            <pc:sldMasterMk cId="2369307428" sldId="2147483742"/>
            <pc:sldLayoutMk cId="3165878710" sldId="2147483749"/>
          </pc:sldLayoutMkLst>
        </pc:sldLayoutChg>
        <pc:sldLayoutChg chg="del">
          <pc:chgData name="Courtney Tenhover" userId="ae2cf505-6387-4cc4-9e8f-d6c2096d9cc9" providerId="ADAL" clId="{059FCE32-2B41-44BF-BDDE-33ADBFBB8052}" dt="2025-04-14T20:00:09.489" v="314" actId="47"/>
          <pc:sldLayoutMkLst>
            <pc:docMk/>
            <pc:sldMasterMk cId="2369307428" sldId="2147483742"/>
            <pc:sldLayoutMk cId="857711282" sldId="2147483750"/>
          </pc:sldLayoutMkLst>
        </pc:sldLayoutChg>
        <pc:sldLayoutChg chg="del">
          <pc:chgData name="Courtney Tenhover" userId="ae2cf505-6387-4cc4-9e8f-d6c2096d9cc9" providerId="ADAL" clId="{059FCE32-2B41-44BF-BDDE-33ADBFBB8052}" dt="2025-04-14T20:00:09.489" v="314" actId="47"/>
          <pc:sldLayoutMkLst>
            <pc:docMk/>
            <pc:sldMasterMk cId="2369307428" sldId="2147483742"/>
            <pc:sldLayoutMk cId="1414082468" sldId="2147483751"/>
          </pc:sldLayoutMkLst>
        </pc:sldLayoutChg>
        <pc:sldLayoutChg chg="del">
          <pc:chgData name="Courtney Tenhover" userId="ae2cf505-6387-4cc4-9e8f-d6c2096d9cc9" providerId="ADAL" clId="{059FCE32-2B41-44BF-BDDE-33ADBFBB8052}" dt="2025-04-14T20:00:09.489" v="314" actId="47"/>
          <pc:sldLayoutMkLst>
            <pc:docMk/>
            <pc:sldMasterMk cId="2369307428" sldId="2147483742"/>
            <pc:sldLayoutMk cId="2276723371" sldId="2147483752"/>
          </pc:sldLayoutMkLst>
        </pc:sldLayoutChg>
        <pc:sldLayoutChg chg="del">
          <pc:chgData name="Courtney Tenhover" userId="ae2cf505-6387-4cc4-9e8f-d6c2096d9cc9" providerId="ADAL" clId="{059FCE32-2B41-44BF-BDDE-33ADBFBB8052}" dt="2025-04-14T20:00:09.489" v="314" actId="47"/>
          <pc:sldLayoutMkLst>
            <pc:docMk/>
            <pc:sldMasterMk cId="2369307428" sldId="2147483742"/>
            <pc:sldLayoutMk cId="3137313706" sldId="2147483753"/>
          </pc:sldLayoutMkLst>
        </pc:sldLayoutChg>
      </pc:sldMasterChg>
    </pc:docChg>
  </pc:docChgLst>
  <pc:docChgLst>
    <pc:chgData name="Terri Sandu" userId="S::tsandu@lorainccc.edu::3a266674-29a9-431c-abbf-c406d2c54694" providerId="AD" clId="Web-{D406A10B-86DB-6A3C-35FA-8263329D335B}"/>
    <pc:docChg chg="modSld">
      <pc:chgData name="Terri Sandu" userId="S::tsandu@lorainccc.edu::3a266674-29a9-431c-abbf-c406d2c54694" providerId="AD" clId="Web-{D406A10B-86DB-6A3C-35FA-8263329D335B}" dt="2025-02-14T18:47:49.068" v="130" actId="20577"/>
      <pc:docMkLst>
        <pc:docMk/>
      </pc:docMkLst>
      <pc:sldChg chg="modSp">
        <pc:chgData name="Terri Sandu" userId="S::tsandu@lorainccc.edu::3a266674-29a9-431c-abbf-c406d2c54694" providerId="AD" clId="Web-{D406A10B-86DB-6A3C-35FA-8263329D335B}" dt="2025-02-14T18:43:39.372" v="33" actId="20577"/>
        <pc:sldMkLst>
          <pc:docMk/>
          <pc:sldMk cId="48821582" sldId="268"/>
        </pc:sldMkLst>
        <pc:spChg chg="mod">
          <ac:chgData name="Terri Sandu" userId="S::tsandu@lorainccc.edu::3a266674-29a9-431c-abbf-c406d2c54694" providerId="AD" clId="Web-{D406A10B-86DB-6A3C-35FA-8263329D335B}" dt="2025-02-14T18:39:30.394" v="16" actId="1076"/>
          <ac:spMkLst>
            <pc:docMk/>
            <pc:sldMk cId="48821582" sldId="268"/>
            <ac:spMk id="2" creationId="{00000000-0000-0000-0000-000000000000}"/>
          </ac:spMkLst>
        </pc:spChg>
        <pc:spChg chg="mod">
          <ac:chgData name="Terri Sandu" userId="S::tsandu@lorainccc.edu::3a266674-29a9-431c-abbf-c406d2c54694" providerId="AD" clId="Web-{D406A10B-86DB-6A3C-35FA-8263329D335B}" dt="2025-02-14T18:39:47.598" v="31" actId="20577"/>
          <ac:spMkLst>
            <pc:docMk/>
            <pc:sldMk cId="48821582" sldId="268"/>
            <ac:spMk id="33" creationId="{00000000-0000-0000-0000-000000000000}"/>
          </ac:spMkLst>
        </pc:spChg>
        <pc:spChg chg="mod">
          <ac:chgData name="Terri Sandu" userId="S::tsandu@lorainccc.edu::3a266674-29a9-431c-abbf-c406d2c54694" providerId="AD" clId="Web-{D406A10B-86DB-6A3C-35FA-8263329D335B}" dt="2025-02-14T18:43:39.372" v="33" actId="20577"/>
          <ac:spMkLst>
            <pc:docMk/>
            <pc:sldMk cId="48821582" sldId="268"/>
            <ac:spMk id="34" creationId="{00000000-0000-0000-0000-000000000000}"/>
          </ac:spMkLst>
        </pc:spChg>
      </pc:sldChg>
      <pc:sldChg chg="modSp">
        <pc:chgData name="Terri Sandu" userId="S::tsandu@lorainccc.edu::3a266674-29a9-431c-abbf-c406d2c54694" providerId="AD" clId="Web-{D406A10B-86DB-6A3C-35FA-8263329D335B}" dt="2025-02-14T18:47:49.068" v="130" actId="20577"/>
        <pc:sldMkLst>
          <pc:docMk/>
          <pc:sldMk cId="2835311434" sldId="295"/>
        </pc:sldMkLst>
        <pc:spChg chg="mod">
          <ac:chgData name="Terri Sandu" userId="S::tsandu@lorainccc.edu::3a266674-29a9-431c-abbf-c406d2c54694" providerId="AD" clId="Web-{D406A10B-86DB-6A3C-35FA-8263329D335B}" dt="2025-02-14T18:47:49.068" v="130" actId="20577"/>
          <ac:spMkLst>
            <pc:docMk/>
            <pc:sldMk cId="2835311434" sldId="295"/>
            <ac:spMk id="30" creationId="{00000000-0000-0000-0000-000000000000}"/>
          </ac:spMkLst>
        </pc:spChg>
      </pc:sldChg>
    </pc:docChg>
  </pc:docChgLst>
  <pc:docChgLst>
    <pc:chgData name="Courtney Tenhover" userId="S::ctenhover@lorainccc.edu::ae2cf505-6387-4cc4-9e8f-d6c2096d9cc9" providerId="AD" clId="Web-{E4755E99-0471-42A0-B0E2-D04B3F129D81}"/>
    <pc:docChg chg="modSld">
      <pc:chgData name="Courtney Tenhover" userId="S::ctenhover@lorainccc.edu::ae2cf505-6387-4cc4-9e8f-d6c2096d9cc9" providerId="AD" clId="Web-{E4755E99-0471-42A0-B0E2-D04B3F129D81}" dt="2025-04-15T11:53:46.026" v="2" actId="1076"/>
      <pc:docMkLst>
        <pc:docMk/>
      </pc:docMkLst>
      <pc:sldChg chg="addSp delSp modSp">
        <pc:chgData name="Courtney Tenhover" userId="S::ctenhover@lorainccc.edu::ae2cf505-6387-4cc4-9e8f-d6c2096d9cc9" providerId="AD" clId="Web-{E4755E99-0471-42A0-B0E2-D04B3F129D81}" dt="2025-04-15T11:53:46.026" v="2" actId="1076"/>
        <pc:sldMkLst>
          <pc:docMk/>
          <pc:sldMk cId="2026029857" sldId="301"/>
        </pc:sldMkLst>
        <pc:picChg chg="add mod">
          <ac:chgData name="Courtney Tenhover" userId="S::ctenhover@lorainccc.edu::ae2cf505-6387-4cc4-9e8f-d6c2096d9cc9" providerId="AD" clId="Web-{E4755E99-0471-42A0-B0E2-D04B3F129D81}" dt="2025-04-15T11:53:46.026" v="2" actId="1076"/>
          <ac:picMkLst>
            <pc:docMk/>
            <pc:sldMk cId="2026029857" sldId="301"/>
            <ac:picMk id="4" creationId="{FC39D16C-0838-5033-2EE5-555E2B490619}"/>
          </ac:picMkLst>
        </pc:picChg>
        <pc:picChg chg="del">
          <ac:chgData name="Courtney Tenhover" userId="S::ctenhover@lorainccc.edu::ae2cf505-6387-4cc4-9e8f-d6c2096d9cc9" providerId="AD" clId="Web-{E4755E99-0471-42A0-B0E2-D04B3F129D81}" dt="2025-04-15T11:53:19.446" v="0"/>
          <ac:picMkLst>
            <pc:docMk/>
            <pc:sldMk cId="2026029857" sldId="301"/>
            <ac:picMk id="2050" creationId="{6A62BCC0-080C-48FD-B9C1-3C9184E75CFF}"/>
          </ac:picMkLst>
        </pc:picChg>
      </pc:sldChg>
    </pc:docChg>
  </pc:docChgLst>
  <pc:docChgLst>
    <pc:chgData name="Kathryn Stack" userId="S::kstack@lorainccc.edu::300d2917-71ce-4bec-af65-3c4f45002b8b" providerId="AD" clId="Web-{24E02BED-5AF6-BE69-057B-9CF3C666D639}"/>
    <pc:docChg chg="modSld">
      <pc:chgData name="Kathryn Stack" userId="S::kstack@lorainccc.edu::300d2917-71ce-4bec-af65-3c4f45002b8b" providerId="AD" clId="Web-{24E02BED-5AF6-BE69-057B-9CF3C666D639}" dt="2025-02-27T19:58:21.602" v="0" actId="1076"/>
      <pc:docMkLst>
        <pc:docMk/>
      </pc:docMkLst>
      <pc:sldChg chg="modSp">
        <pc:chgData name="Kathryn Stack" userId="S::kstack@lorainccc.edu::300d2917-71ce-4bec-af65-3c4f45002b8b" providerId="AD" clId="Web-{24E02BED-5AF6-BE69-057B-9CF3C666D639}" dt="2025-02-27T19:58:21.602" v="0" actId="1076"/>
        <pc:sldMkLst>
          <pc:docMk/>
          <pc:sldMk cId="338131953" sldId="296"/>
        </pc:sldMkLst>
        <pc:picChg chg="mod">
          <ac:chgData name="Kathryn Stack" userId="S::kstack@lorainccc.edu::300d2917-71ce-4bec-af65-3c4f45002b8b" providerId="AD" clId="Web-{24E02BED-5AF6-BE69-057B-9CF3C666D639}" dt="2025-02-27T19:58:21.602" v="0" actId="1076"/>
          <ac:picMkLst>
            <pc:docMk/>
            <pc:sldMk cId="338131953" sldId="296"/>
            <ac:picMk id="5" creationId="{990B4642-E104-4387-BA09-25541AA49D5A}"/>
          </ac:picMkLst>
        </pc:picChg>
      </pc:sldChg>
    </pc:docChg>
  </pc:docChgLst>
  <pc:docChgLst>
    <pc:chgData name="Courtney Tenhover" userId="ae2cf505-6387-4cc4-9e8f-d6c2096d9cc9" providerId="ADAL" clId="{AFA0268A-100E-4D40-A29E-1D91B1198096}"/>
    <pc:docChg chg="custSel addSld modSld sldOrd">
      <pc:chgData name="Courtney Tenhover" userId="ae2cf505-6387-4cc4-9e8f-d6c2096d9cc9" providerId="ADAL" clId="{AFA0268A-100E-4D40-A29E-1D91B1198096}" dt="2025-02-18T13:17:12.092" v="539"/>
      <pc:docMkLst>
        <pc:docMk/>
      </pc:docMkLst>
      <pc:sldChg chg="ord">
        <pc:chgData name="Courtney Tenhover" userId="ae2cf505-6387-4cc4-9e8f-d6c2096d9cc9" providerId="ADAL" clId="{AFA0268A-100E-4D40-A29E-1D91B1198096}" dt="2025-02-18T13:08:46.053" v="304"/>
        <pc:sldMkLst>
          <pc:docMk/>
          <pc:sldMk cId="0" sldId="259"/>
        </pc:sldMkLst>
      </pc:sldChg>
      <pc:sldChg chg="ord">
        <pc:chgData name="Courtney Tenhover" userId="ae2cf505-6387-4cc4-9e8f-d6c2096d9cc9" providerId="ADAL" clId="{AFA0268A-100E-4D40-A29E-1D91B1198096}" dt="2025-02-18T13:08:40.358" v="302"/>
        <pc:sldMkLst>
          <pc:docMk/>
          <pc:sldMk cId="48821582" sldId="268"/>
        </pc:sldMkLst>
      </pc:sldChg>
      <pc:sldChg chg="ord">
        <pc:chgData name="Courtney Tenhover" userId="ae2cf505-6387-4cc4-9e8f-d6c2096d9cc9" providerId="ADAL" clId="{AFA0268A-100E-4D40-A29E-1D91B1198096}" dt="2025-02-18T13:17:12.092" v="539"/>
        <pc:sldMkLst>
          <pc:docMk/>
          <pc:sldMk cId="338131953" sldId="296"/>
        </pc:sldMkLst>
      </pc:sldChg>
      <pc:sldChg chg="addSp delSp modSp add mod">
        <pc:chgData name="Courtney Tenhover" userId="ae2cf505-6387-4cc4-9e8f-d6c2096d9cc9" providerId="ADAL" clId="{AFA0268A-100E-4D40-A29E-1D91B1198096}" dt="2025-02-18T13:05:48.059" v="273" actId="1076"/>
        <pc:sldMkLst>
          <pc:docMk/>
          <pc:sldMk cId="487731204" sldId="511"/>
        </pc:sldMkLst>
        <pc:spChg chg="mod">
          <ac:chgData name="Courtney Tenhover" userId="ae2cf505-6387-4cc4-9e8f-d6c2096d9cc9" providerId="ADAL" clId="{AFA0268A-100E-4D40-A29E-1D91B1198096}" dt="2025-02-18T13:05:36.169" v="263" actId="1076"/>
          <ac:spMkLst>
            <pc:docMk/>
            <pc:sldMk cId="487731204" sldId="511"/>
            <ac:spMk id="2" creationId="{00000000-0000-0000-0000-000000000000}"/>
          </ac:spMkLst>
        </pc:spChg>
        <pc:spChg chg="del">
          <ac:chgData name="Courtney Tenhover" userId="ae2cf505-6387-4cc4-9e8f-d6c2096d9cc9" providerId="ADAL" clId="{AFA0268A-100E-4D40-A29E-1D91B1198096}" dt="2025-02-18T13:03:22.001" v="3" actId="478"/>
          <ac:spMkLst>
            <pc:docMk/>
            <pc:sldMk cId="487731204" sldId="511"/>
            <ac:spMk id="3" creationId="{00000000-0000-0000-0000-000000000000}"/>
          </ac:spMkLst>
        </pc:spChg>
        <pc:spChg chg="add mod">
          <ac:chgData name="Courtney Tenhover" userId="ae2cf505-6387-4cc4-9e8f-d6c2096d9cc9" providerId="ADAL" clId="{AFA0268A-100E-4D40-A29E-1D91B1198096}" dt="2025-02-18T13:05:48.059" v="273" actId="1076"/>
          <ac:spMkLst>
            <pc:docMk/>
            <pc:sldMk cId="487731204" sldId="511"/>
            <ac:spMk id="4" creationId="{EE45EC23-B441-4ED5-9A02-A2F17865FDA4}"/>
          </ac:spMkLst>
        </pc:spChg>
        <pc:spChg chg="add del mod">
          <ac:chgData name="Courtney Tenhover" userId="ae2cf505-6387-4cc4-9e8f-d6c2096d9cc9" providerId="ADAL" clId="{AFA0268A-100E-4D40-A29E-1D91B1198096}" dt="2025-02-18T13:05:38.090" v="264" actId="478"/>
          <ac:spMkLst>
            <pc:docMk/>
            <pc:sldMk cId="487731204" sldId="511"/>
            <ac:spMk id="5" creationId="{1F7F7FF2-E9D8-44EA-8414-CCD117D409BC}"/>
          </ac:spMkLst>
        </pc:spChg>
        <pc:spChg chg="del">
          <ac:chgData name="Courtney Tenhover" userId="ae2cf505-6387-4cc4-9e8f-d6c2096d9cc9" providerId="ADAL" clId="{AFA0268A-100E-4D40-A29E-1D91B1198096}" dt="2025-02-18T13:03:20.721" v="2" actId="478"/>
          <ac:spMkLst>
            <pc:docMk/>
            <pc:sldMk cId="487731204" sldId="511"/>
            <ac:spMk id="38" creationId="{00000000-0000-0000-0000-000000000000}"/>
          </ac:spMkLst>
        </pc:spChg>
        <pc:picChg chg="del">
          <ac:chgData name="Courtney Tenhover" userId="ae2cf505-6387-4cc4-9e8f-d6c2096d9cc9" providerId="ADAL" clId="{AFA0268A-100E-4D40-A29E-1D91B1198096}" dt="2025-02-18T13:03:19.073" v="1" actId="478"/>
          <ac:picMkLst>
            <pc:docMk/>
            <pc:sldMk cId="487731204" sldId="511"/>
            <ac:picMk id="2050" creationId="{6A62BCC0-080C-48FD-B9C1-3C9184E75CFF}"/>
          </ac:picMkLst>
        </pc:picChg>
      </pc:sldChg>
      <pc:sldChg chg="addSp delSp modSp add mod">
        <pc:chgData name="Courtney Tenhover" userId="ae2cf505-6387-4cc4-9e8f-d6c2096d9cc9" providerId="ADAL" clId="{AFA0268A-100E-4D40-A29E-1D91B1198096}" dt="2025-02-18T13:08:14.192" v="299" actId="1076"/>
        <pc:sldMkLst>
          <pc:docMk/>
          <pc:sldMk cId="116752355" sldId="512"/>
        </pc:sldMkLst>
        <pc:spChg chg="mod">
          <ac:chgData name="Courtney Tenhover" userId="ae2cf505-6387-4cc4-9e8f-d6c2096d9cc9" providerId="ADAL" clId="{AFA0268A-100E-4D40-A29E-1D91B1198096}" dt="2025-02-18T13:06:03.676" v="280" actId="1076"/>
          <ac:spMkLst>
            <pc:docMk/>
            <pc:sldMk cId="116752355" sldId="512"/>
            <ac:spMk id="2" creationId="{00000000-0000-0000-0000-000000000000}"/>
          </ac:spMkLst>
        </pc:spChg>
        <pc:spChg chg="del">
          <ac:chgData name="Courtney Tenhover" userId="ae2cf505-6387-4cc4-9e8f-d6c2096d9cc9" providerId="ADAL" clId="{AFA0268A-100E-4D40-A29E-1D91B1198096}" dt="2025-02-18T13:05:33.121" v="262" actId="478"/>
          <ac:spMkLst>
            <pc:docMk/>
            <pc:sldMk cId="116752355" sldId="512"/>
            <ac:spMk id="4" creationId="{EE45EC23-B441-4ED5-9A02-A2F17865FDA4}"/>
          </ac:spMkLst>
        </pc:spChg>
        <pc:spChg chg="mod">
          <ac:chgData name="Courtney Tenhover" userId="ae2cf505-6387-4cc4-9e8f-d6c2096d9cc9" providerId="ADAL" clId="{AFA0268A-100E-4D40-A29E-1D91B1198096}" dt="2025-02-18T13:06:32.320" v="288" actId="1076"/>
          <ac:spMkLst>
            <pc:docMk/>
            <pc:sldMk cId="116752355" sldId="512"/>
            <ac:spMk id="5" creationId="{1F7F7FF2-E9D8-44EA-8414-CCD117D409BC}"/>
          </ac:spMkLst>
        </pc:spChg>
        <pc:picChg chg="add mod">
          <ac:chgData name="Courtney Tenhover" userId="ae2cf505-6387-4cc4-9e8f-d6c2096d9cc9" providerId="ADAL" clId="{AFA0268A-100E-4D40-A29E-1D91B1198096}" dt="2025-02-18T13:08:14.192" v="299" actId="1076"/>
          <ac:picMkLst>
            <pc:docMk/>
            <pc:sldMk cId="116752355" sldId="512"/>
            <ac:picMk id="2050" creationId="{EBE86870-AE10-47C5-95C5-8DA3E31C690F}"/>
          </ac:picMkLst>
        </pc:picChg>
        <pc:picChg chg="add mod">
          <ac:chgData name="Courtney Tenhover" userId="ae2cf505-6387-4cc4-9e8f-d6c2096d9cc9" providerId="ADAL" clId="{AFA0268A-100E-4D40-A29E-1D91B1198096}" dt="2025-02-18T13:08:12.763" v="298" actId="1076"/>
          <ac:picMkLst>
            <pc:docMk/>
            <pc:sldMk cId="116752355" sldId="512"/>
            <ac:picMk id="2052" creationId="{9F677268-5535-46E9-9B29-4E0362A78956}"/>
          </ac:picMkLst>
        </pc:picChg>
      </pc:sldChg>
      <pc:sldChg chg="delSp modSp add mod">
        <pc:chgData name="Courtney Tenhover" userId="ae2cf505-6387-4cc4-9e8f-d6c2096d9cc9" providerId="ADAL" clId="{AFA0268A-100E-4D40-A29E-1D91B1198096}" dt="2025-02-18T13:10:43.001" v="476" actId="14100"/>
        <pc:sldMkLst>
          <pc:docMk/>
          <pc:sldMk cId="2546110382" sldId="513"/>
        </pc:sldMkLst>
        <pc:spChg chg="mod">
          <ac:chgData name="Courtney Tenhover" userId="ae2cf505-6387-4cc4-9e8f-d6c2096d9cc9" providerId="ADAL" clId="{AFA0268A-100E-4D40-A29E-1D91B1198096}" dt="2025-02-18T13:10:43.001" v="476" actId="14100"/>
          <ac:spMkLst>
            <pc:docMk/>
            <pc:sldMk cId="2546110382" sldId="513"/>
            <ac:spMk id="4" creationId="{EE45EC23-B441-4ED5-9A02-A2F17865FDA4}"/>
          </ac:spMkLst>
        </pc:spChg>
        <pc:spChg chg="del">
          <ac:chgData name="Courtney Tenhover" userId="ae2cf505-6387-4cc4-9e8f-d6c2096d9cc9" providerId="ADAL" clId="{AFA0268A-100E-4D40-A29E-1D91B1198096}" dt="2025-02-18T13:09:39.387" v="406" actId="478"/>
          <ac:spMkLst>
            <pc:docMk/>
            <pc:sldMk cId="2546110382" sldId="513"/>
            <ac:spMk id="5" creationId="{1F7F7FF2-E9D8-44EA-8414-CCD117D409BC}"/>
          </ac:spMkLst>
        </pc:spChg>
      </pc:sldChg>
      <pc:sldChg chg="addSp delSp modSp add mod">
        <pc:chgData name="Courtney Tenhover" userId="ae2cf505-6387-4cc4-9e8f-d6c2096d9cc9" providerId="ADAL" clId="{AFA0268A-100E-4D40-A29E-1D91B1198096}" dt="2025-02-18T13:16:02.678" v="537" actId="1076"/>
        <pc:sldMkLst>
          <pc:docMk/>
          <pc:sldMk cId="168828910" sldId="514"/>
        </pc:sldMkLst>
        <pc:spChg chg="del mod">
          <ac:chgData name="Courtney Tenhover" userId="ae2cf505-6387-4cc4-9e8f-d6c2096d9cc9" providerId="ADAL" clId="{AFA0268A-100E-4D40-A29E-1D91B1198096}" dt="2025-02-18T13:14:28.631" v="507" actId="478"/>
          <ac:spMkLst>
            <pc:docMk/>
            <pc:sldMk cId="168828910" sldId="514"/>
            <ac:spMk id="2" creationId="{00000000-0000-0000-0000-000000000000}"/>
          </ac:spMkLst>
        </pc:spChg>
        <pc:spChg chg="del">
          <ac:chgData name="Courtney Tenhover" userId="ae2cf505-6387-4cc4-9e8f-d6c2096d9cc9" providerId="ADAL" clId="{AFA0268A-100E-4D40-A29E-1D91B1198096}" dt="2025-02-18T13:09:46.796" v="407" actId="478"/>
          <ac:spMkLst>
            <pc:docMk/>
            <pc:sldMk cId="168828910" sldId="514"/>
            <ac:spMk id="4" creationId="{EE45EC23-B441-4ED5-9A02-A2F17865FDA4}"/>
          </ac:spMkLst>
        </pc:spChg>
        <pc:spChg chg="del">
          <ac:chgData name="Courtney Tenhover" userId="ae2cf505-6387-4cc4-9e8f-d6c2096d9cc9" providerId="ADAL" clId="{AFA0268A-100E-4D40-A29E-1D91B1198096}" dt="2025-02-18T13:09:48.908" v="408" actId="478"/>
          <ac:spMkLst>
            <pc:docMk/>
            <pc:sldMk cId="168828910" sldId="514"/>
            <ac:spMk id="5" creationId="{1F7F7FF2-E9D8-44EA-8414-CCD117D409BC}"/>
          </ac:spMkLst>
        </pc:spChg>
        <pc:picChg chg="add mod ord">
          <ac:chgData name="Courtney Tenhover" userId="ae2cf505-6387-4cc4-9e8f-d6c2096d9cc9" providerId="ADAL" clId="{AFA0268A-100E-4D40-A29E-1D91B1198096}" dt="2025-02-18T13:15:31.226" v="522" actId="166"/>
          <ac:picMkLst>
            <pc:docMk/>
            <pc:sldMk cId="168828910" sldId="514"/>
            <ac:picMk id="6" creationId="{D722ADCC-ACBD-49FF-B838-50A663F172D0}"/>
          </ac:picMkLst>
        </pc:picChg>
        <pc:picChg chg="mod">
          <ac:chgData name="Courtney Tenhover" userId="ae2cf505-6387-4cc4-9e8f-d6c2096d9cc9" providerId="ADAL" clId="{AFA0268A-100E-4D40-A29E-1D91B1198096}" dt="2025-02-18T13:11:11.459" v="480" actId="1076"/>
          <ac:picMkLst>
            <pc:docMk/>
            <pc:sldMk cId="168828910" sldId="514"/>
            <ac:picMk id="54" creationId="{3067D24A-1042-4329-83B8-3078934EFA11}"/>
          </ac:picMkLst>
        </pc:picChg>
        <pc:picChg chg="add mod">
          <ac:chgData name="Courtney Tenhover" userId="ae2cf505-6387-4cc4-9e8f-d6c2096d9cc9" providerId="ADAL" clId="{AFA0268A-100E-4D40-A29E-1D91B1198096}" dt="2025-02-18T13:16:00.898" v="536" actId="14100"/>
          <ac:picMkLst>
            <pc:docMk/>
            <pc:sldMk cId="168828910" sldId="514"/>
            <ac:picMk id="3074" creationId="{CC9632FA-BAF1-4117-8003-A78E98EFA8EC}"/>
          </ac:picMkLst>
        </pc:picChg>
        <pc:picChg chg="add mod">
          <ac:chgData name="Courtney Tenhover" userId="ae2cf505-6387-4cc4-9e8f-d6c2096d9cc9" providerId="ADAL" clId="{AFA0268A-100E-4D40-A29E-1D91B1198096}" dt="2025-02-18T13:15:39.017" v="526" actId="1076"/>
          <ac:picMkLst>
            <pc:docMk/>
            <pc:sldMk cId="168828910" sldId="514"/>
            <ac:picMk id="3076" creationId="{A65AA7A9-4870-430E-A603-BEBFE7316D9E}"/>
          </ac:picMkLst>
        </pc:picChg>
        <pc:picChg chg="add mod">
          <ac:chgData name="Courtney Tenhover" userId="ae2cf505-6387-4cc4-9e8f-d6c2096d9cc9" providerId="ADAL" clId="{AFA0268A-100E-4D40-A29E-1D91B1198096}" dt="2025-02-18T13:15:58.834" v="535" actId="1076"/>
          <ac:picMkLst>
            <pc:docMk/>
            <pc:sldMk cId="168828910" sldId="514"/>
            <ac:picMk id="3078" creationId="{DB7BC2DD-BDD3-4B8F-9502-D61C439171D6}"/>
          </ac:picMkLst>
        </pc:picChg>
        <pc:picChg chg="add mod">
          <ac:chgData name="Courtney Tenhover" userId="ae2cf505-6387-4cc4-9e8f-d6c2096d9cc9" providerId="ADAL" clId="{AFA0268A-100E-4D40-A29E-1D91B1198096}" dt="2025-02-18T13:15:32.782" v="523" actId="1076"/>
          <ac:picMkLst>
            <pc:docMk/>
            <pc:sldMk cId="168828910" sldId="514"/>
            <ac:picMk id="3080" creationId="{DFF24412-4899-4566-9E7C-D8D30B4BBEA6}"/>
          </ac:picMkLst>
        </pc:picChg>
        <pc:picChg chg="add del">
          <ac:chgData name="Courtney Tenhover" userId="ae2cf505-6387-4cc4-9e8f-d6c2096d9cc9" providerId="ADAL" clId="{AFA0268A-100E-4D40-A29E-1D91B1198096}" dt="2025-02-18T13:14:28.631" v="507" actId="478"/>
          <ac:picMkLst>
            <pc:docMk/>
            <pc:sldMk cId="168828910" sldId="514"/>
            <ac:picMk id="3082" creationId="{F591CE0A-D2C2-4E81-928B-2FD60A228169}"/>
          </ac:picMkLst>
        </pc:picChg>
        <pc:picChg chg="add mod">
          <ac:chgData name="Courtney Tenhover" userId="ae2cf505-6387-4cc4-9e8f-d6c2096d9cc9" providerId="ADAL" clId="{AFA0268A-100E-4D40-A29E-1D91B1198096}" dt="2025-02-18T13:16:02.678" v="537" actId="1076"/>
          <ac:picMkLst>
            <pc:docMk/>
            <pc:sldMk cId="168828910" sldId="514"/>
            <ac:picMk id="3084" creationId="{B38A898E-5321-4D72-86C0-2A9086E395C9}"/>
          </ac:picMkLst>
        </pc:picChg>
      </pc:sldChg>
    </pc:docChg>
  </pc:docChgLst>
  <pc:docChgLst>
    <pc:chgData name="Courtney Tenhover" userId="S::ctenhover@lorainccc.edu::ae2cf505-6387-4cc4-9e8f-d6c2096d9cc9" providerId="AD" clId="Web-{9AD199FE-219F-423B-8911-FBDD7373B101}"/>
    <pc:docChg chg="modSld">
      <pc:chgData name="Courtney Tenhover" userId="S::ctenhover@lorainccc.edu::ae2cf505-6387-4cc4-9e8f-d6c2096d9cc9" providerId="AD" clId="Web-{9AD199FE-219F-423B-8911-FBDD7373B101}" dt="2025-02-14T17:27:14.197" v="17"/>
      <pc:docMkLst>
        <pc:docMk/>
      </pc:docMkLst>
      <pc:sldChg chg="addSp modSp modNotes">
        <pc:chgData name="Courtney Tenhover" userId="S::ctenhover@lorainccc.edu::ae2cf505-6387-4cc4-9e8f-d6c2096d9cc9" providerId="AD" clId="Web-{9AD199FE-219F-423B-8911-FBDD7373B101}" dt="2025-02-14T17:27:14.197" v="17"/>
        <pc:sldMkLst>
          <pc:docMk/>
          <pc:sldMk cId="2263598897" sldId="302"/>
        </pc:sldMkLst>
        <pc:spChg chg="add mod">
          <ac:chgData name="Courtney Tenhover" userId="S::ctenhover@lorainccc.edu::ae2cf505-6387-4cc4-9e8f-d6c2096d9cc9" providerId="AD" clId="Web-{9AD199FE-219F-423B-8911-FBDD7373B101}" dt="2025-02-14T17:26:49.961" v="12" actId="1076"/>
          <ac:spMkLst>
            <pc:docMk/>
            <pc:sldMk cId="2263598897" sldId="302"/>
            <ac:spMk id="3" creationId="{0395D484-5D5E-9B98-0FBA-EE50AB2978A9}"/>
          </ac:spMkLst>
        </pc:spChg>
        <pc:spChg chg="mod">
          <ac:chgData name="Courtney Tenhover" userId="S::ctenhover@lorainccc.edu::ae2cf505-6387-4cc4-9e8f-d6c2096d9cc9" providerId="AD" clId="Web-{9AD199FE-219F-423B-8911-FBDD7373B101}" dt="2025-02-14T17:26:52.321" v="13" actId="20577"/>
          <ac:spMkLst>
            <pc:docMk/>
            <pc:sldMk cId="2263598897" sldId="302"/>
            <ac:spMk id="6" creationId="{31FEA6E3-EE2F-408B-BFFB-6E4E2F1277D5}"/>
          </ac:spMkLst>
        </pc:spChg>
        <pc:picChg chg="add mod">
          <ac:chgData name="Courtney Tenhover" userId="S::ctenhover@lorainccc.edu::ae2cf505-6387-4cc4-9e8f-d6c2096d9cc9" providerId="AD" clId="Web-{9AD199FE-219F-423B-8911-FBDD7373B101}" dt="2025-02-14T17:27:14.197" v="17"/>
          <ac:picMkLst>
            <pc:docMk/>
            <pc:sldMk cId="2263598897" sldId="302"/>
            <ac:picMk id="2" creationId="{D5D089DA-AD9A-4BD1-D44A-45CA67AFD893}"/>
          </ac:picMkLst>
        </pc:picChg>
      </pc:sldChg>
    </pc:docChg>
  </pc:docChgLst>
  <pc:docChgLst>
    <pc:chgData name="Courtney Tenhover" userId="af8533f69a9cd484" providerId="LiveId" clId="{3544C330-697D-4E51-A165-8EA7912E4EB7}"/>
    <pc:docChg chg="undo custSel addSld delSld modSld sldOrd delMainMaster">
      <pc:chgData name="Courtney Tenhover" userId="af8533f69a9cd484" providerId="LiveId" clId="{3544C330-697D-4E51-A165-8EA7912E4EB7}" dt="2025-02-14T17:21:27.488" v="1023" actId="1076"/>
      <pc:docMkLst>
        <pc:docMk/>
      </pc:docMkLst>
      <pc:sldChg chg="del">
        <pc:chgData name="Courtney Tenhover" userId="af8533f69a9cd484" providerId="LiveId" clId="{3544C330-697D-4E51-A165-8EA7912E4EB7}" dt="2025-02-12T20:42:05.261" v="0" actId="47"/>
        <pc:sldMkLst>
          <pc:docMk/>
          <pc:sldMk cId="0" sldId="256"/>
        </pc:sldMkLst>
      </pc:sldChg>
      <pc:sldChg chg="del">
        <pc:chgData name="Courtney Tenhover" userId="af8533f69a9cd484" providerId="LiveId" clId="{3544C330-697D-4E51-A165-8EA7912E4EB7}" dt="2025-02-12T20:42:06.769" v="1" actId="47"/>
        <pc:sldMkLst>
          <pc:docMk/>
          <pc:sldMk cId="0" sldId="257"/>
        </pc:sldMkLst>
      </pc:sldChg>
      <pc:sldChg chg="del">
        <pc:chgData name="Courtney Tenhover" userId="af8533f69a9cd484" providerId="LiveId" clId="{3544C330-697D-4E51-A165-8EA7912E4EB7}" dt="2025-02-12T20:42:08.120" v="5" actId="47"/>
        <pc:sldMkLst>
          <pc:docMk/>
          <pc:sldMk cId="0" sldId="258"/>
        </pc:sldMkLst>
      </pc:sldChg>
      <pc:sldChg chg="del">
        <pc:chgData name="Courtney Tenhover" userId="af8533f69a9cd484" providerId="LiveId" clId="{3544C330-697D-4E51-A165-8EA7912E4EB7}" dt="2025-02-12T20:42:08.937" v="9" actId="47"/>
        <pc:sldMkLst>
          <pc:docMk/>
          <pc:sldMk cId="2330476560" sldId="261"/>
        </pc:sldMkLst>
      </pc:sldChg>
      <pc:sldChg chg="del">
        <pc:chgData name="Courtney Tenhover" userId="af8533f69a9cd484" providerId="LiveId" clId="{3544C330-697D-4E51-A165-8EA7912E4EB7}" dt="2025-02-12T20:42:11.536" v="19" actId="47"/>
        <pc:sldMkLst>
          <pc:docMk/>
          <pc:sldMk cId="0" sldId="264"/>
        </pc:sldMkLst>
      </pc:sldChg>
      <pc:sldChg chg="del">
        <pc:chgData name="Courtney Tenhover" userId="af8533f69a9cd484" providerId="LiveId" clId="{3544C330-697D-4E51-A165-8EA7912E4EB7}" dt="2025-02-12T20:42:13.075" v="22" actId="47"/>
        <pc:sldMkLst>
          <pc:docMk/>
          <pc:sldMk cId="0" sldId="266"/>
        </pc:sldMkLst>
      </pc:sldChg>
      <pc:sldChg chg="del">
        <pc:chgData name="Courtney Tenhover" userId="af8533f69a9cd484" providerId="LiveId" clId="{3544C330-697D-4E51-A165-8EA7912E4EB7}" dt="2025-02-12T20:42:13.639" v="23" actId="47"/>
        <pc:sldMkLst>
          <pc:docMk/>
          <pc:sldMk cId="0" sldId="267"/>
        </pc:sldMkLst>
      </pc:sldChg>
      <pc:sldChg chg="modSp mod">
        <pc:chgData name="Courtney Tenhover" userId="af8533f69a9cd484" providerId="LiveId" clId="{3544C330-697D-4E51-A165-8EA7912E4EB7}" dt="2025-02-13T16:27:04.774" v="273" actId="1035"/>
        <pc:sldMkLst>
          <pc:docMk/>
          <pc:sldMk cId="0" sldId="269"/>
        </pc:sldMkLst>
        <pc:spChg chg="mod">
          <ac:chgData name="Courtney Tenhover" userId="af8533f69a9cd484" providerId="LiveId" clId="{3544C330-697D-4E51-A165-8EA7912E4EB7}" dt="2025-02-13T16:27:04.774" v="273" actId="1035"/>
          <ac:spMkLst>
            <pc:docMk/>
            <pc:sldMk cId="0" sldId="269"/>
            <ac:spMk id="15" creationId="{1C189053-3F90-3D5A-A734-A5DF8437815E}"/>
          </ac:spMkLst>
        </pc:spChg>
        <pc:spChg chg="mod">
          <ac:chgData name="Courtney Tenhover" userId="af8533f69a9cd484" providerId="LiveId" clId="{3544C330-697D-4E51-A165-8EA7912E4EB7}" dt="2025-02-13T16:24:44.659" v="197" actId="207"/>
          <ac:spMkLst>
            <pc:docMk/>
            <pc:sldMk cId="0" sldId="269"/>
            <ac:spMk id="20" creationId="{00000000-0000-0000-0000-000000000000}"/>
          </ac:spMkLst>
        </pc:spChg>
        <pc:spChg chg="mod">
          <ac:chgData name="Courtney Tenhover" userId="af8533f69a9cd484" providerId="LiveId" clId="{3544C330-697D-4E51-A165-8EA7912E4EB7}" dt="2025-02-13T16:25:35.064" v="257" actId="1038"/>
          <ac:spMkLst>
            <pc:docMk/>
            <pc:sldMk cId="0" sldId="269"/>
            <ac:spMk id="27" creationId="{00000000-0000-0000-0000-000000000000}"/>
          </ac:spMkLst>
        </pc:spChg>
        <pc:spChg chg="mod">
          <ac:chgData name="Courtney Tenhover" userId="af8533f69a9cd484" providerId="LiveId" clId="{3544C330-697D-4E51-A165-8EA7912E4EB7}" dt="2025-02-13T16:27:01.591" v="267" actId="1076"/>
          <ac:spMkLst>
            <pc:docMk/>
            <pc:sldMk cId="0" sldId="269"/>
            <ac:spMk id="28" creationId="{00000000-0000-0000-0000-000000000000}"/>
          </ac:spMkLst>
        </pc:spChg>
        <pc:spChg chg="mod">
          <ac:chgData name="Courtney Tenhover" userId="af8533f69a9cd484" providerId="LiveId" clId="{3544C330-697D-4E51-A165-8EA7912E4EB7}" dt="2025-02-12T20:42:29.452" v="44" actId="20577"/>
          <ac:spMkLst>
            <pc:docMk/>
            <pc:sldMk cId="0" sldId="269"/>
            <ac:spMk id="30" creationId="{00000000-0000-0000-0000-000000000000}"/>
          </ac:spMkLst>
        </pc:spChg>
        <pc:spChg chg="mod">
          <ac:chgData name="Courtney Tenhover" userId="af8533f69a9cd484" providerId="LiveId" clId="{3544C330-697D-4E51-A165-8EA7912E4EB7}" dt="2025-02-13T16:25:18.105" v="238" actId="1036"/>
          <ac:spMkLst>
            <pc:docMk/>
            <pc:sldMk cId="0" sldId="269"/>
            <ac:spMk id="31" creationId="{6926DC36-CF0D-4310-BD0A-2E11D81DDB7B}"/>
          </ac:spMkLst>
        </pc:spChg>
        <pc:grpChg chg="mod">
          <ac:chgData name="Courtney Tenhover" userId="af8533f69a9cd484" providerId="LiveId" clId="{3544C330-697D-4E51-A165-8EA7912E4EB7}" dt="2025-02-13T16:25:01.411" v="201" actId="1076"/>
          <ac:grpSpMkLst>
            <pc:docMk/>
            <pc:sldMk cId="0" sldId="269"/>
            <ac:grpSpMk id="19" creationId="{00000000-0000-0000-0000-000000000000}"/>
          </ac:grpSpMkLst>
        </pc:grpChg>
        <pc:picChg chg="mod">
          <ac:chgData name="Courtney Tenhover" userId="af8533f69a9cd484" providerId="LiveId" clId="{3544C330-697D-4E51-A165-8EA7912E4EB7}" dt="2025-02-13T16:27:04.774" v="273" actId="1035"/>
          <ac:picMkLst>
            <pc:docMk/>
            <pc:sldMk cId="0" sldId="269"/>
            <ac:picMk id="35" creationId="{8F882295-5F48-46CD-BF79-69DDACF02678}"/>
          </ac:picMkLst>
        </pc:picChg>
      </pc:sldChg>
      <pc:sldChg chg="modSp mod">
        <pc:chgData name="Courtney Tenhover" userId="af8533f69a9cd484" providerId="LiveId" clId="{3544C330-697D-4E51-A165-8EA7912E4EB7}" dt="2025-02-13T16:47:23.654" v="711" actId="1076"/>
        <pc:sldMkLst>
          <pc:docMk/>
          <pc:sldMk cId="2835311434" sldId="295"/>
        </pc:sldMkLst>
        <pc:spChg chg="mod">
          <ac:chgData name="Courtney Tenhover" userId="af8533f69a9cd484" providerId="LiveId" clId="{3544C330-697D-4E51-A165-8EA7912E4EB7}" dt="2025-02-13T16:47:13.599" v="708" actId="207"/>
          <ac:spMkLst>
            <pc:docMk/>
            <pc:sldMk cId="2835311434" sldId="295"/>
            <ac:spMk id="11" creationId="{00000000-0000-0000-0000-000000000000}"/>
          </ac:spMkLst>
        </pc:spChg>
        <pc:spChg chg="mod">
          <ac:chgData name="Courtney Tenhover" userId="af8533f69a9cd484" providerId="LiveId" clId="{3544C330-697D-4E51-A165-8EA7912E4EB7}" dt="2025-02-13T16:29:21.010" v="353" actId="1035"/>
          <ac:spMkLst>
            <pc:docMk/>
            <pc:sldMk cId="2835311434" sldId="295"/>
            <ac:spMk id="27" creationId="{00000000-0000-0000-0000-000000000000}"/>
          </ac:spMkLst>
        </pc:spChg>
        <pc:spChg chg="mod">
          <ac:chgData name="Courtney Tenhover" userId="af8533f69a9cd484" providerId="LiveId" clId="{3544C330-697D-4E51-A165-8EA7912E4EB7}" dt="2025-02-13T16:29:26.818" v="367" actId="1035"/>
          <ac:spMkLst>
            <pc:docMk/>
            <pc:sldMk cId="2835311434" sldId="295"/>
            <ac:spMk id="30" creationId="{00000000-0000-0000-0000-000000000000}"/>
          </ac:spMkLst>
        </pc:spChg>
        <pc:grpChg chg="mod">
          <ac:chgData name="Courtney Tenhover" userId="af8533f69a9cd484" providerId="LiveId" clId="{3544C330-697D-4E51-A165-8EA7912E4EB7}" dt="2025-02-13T16:47:19.843" v="710" actId="14100"/>
          <ac:grpSpMkLst>
            <pc:docMk/>
            <pc:sldMk cId="2835311434" sldId="295"/>
            <ac:grpSpMk id="10" creationId="{00000000-0000-0000-0000-000000000000}"/>
          </ac:grpSpMkLst>
        </pc:grpChg>
        <pc:grpChg chg="mod">
          <ac:chgData name="Courtney Tenhover" userId="af8533f69a9cd484" providerId="LiveId" clId="{3544C330-697D-4E51-A165-8EA7912E4EB7}" dt="2025-02-13T16:47:23.654" v="711" actId="1076"/>
          <ac:grpSpMkLst>
            <pc:docMk/>
            <pc:sldMk cId="2835311434" sldId="295"/>
            <ac:grpSpMk id="13" creationId="{00000000-0000-0000-0000-000000000000}"/>
          </ac:grpSpMkLst>
        </pc:grpChg>
        <pc:picChg chg="mod">
          <ac:chgData name="Courtney Tenhover" userId="af8533f69a9cd484" providerId="LiveId" clId="{3544C330-697D-4E51-A165-8EA7912E4EB7}" dt="2025-02-13T16:29:30.992" v="374" actId="1036"/>
          <ac:picMkLst>
            <pc:docMk/>
            <pc:sldMk cId="2835311434" sldId="295"/>
            <ac:picMk id="29" creationId="{20D19F3C-A2CC-40EA-BD1B-06E287B4C40D}"/>
          </ac:picMkLst>
        </pc:picChg>
      </pc:sldChg>
      <pc:sldChg chg="modSp mod">
        <pc:chgData name="Courtney Tenhover" userId="af8533f69a9cd484" providerId="LiveId" clId="{3544C330-697D-4E51-A165-8EA7912E4EB7}" dt="2025-02-13T16:29:47.310" v="379" actId="1037"/>
        <pc:sldMkLst>
          <pc:docMk/>
          <pc:sldMk cId="338131953" sldId="296"/>
        </pc:sldMkLst>
        <pc:spChg chg="mod">
          <ac:chgData name="Courtney Tenhover" userId="af8533f69a9cd484" providerId="LiveId" clId="{3544C330-697D-4E51-A165-8EA7912E4EB7}" dt="2025-02-13T16:29:47.310" v="379" actId="1037"/>
          <ac:spMkLst>
            <pc:docMk/>
            <pc:sldMk cId="338131953" sldId="296"/>
            <ac:spMk id="2" creationId="{00000000-0000-0000-0000-000000000000}"/>
          </ac:spMkLst>
        </pc:spChg>
        <pc:spChg chg="mod">
          <ac:chgData name="Courtney Tenhover" userId="af8533f69a9cd484" providerId="LiveId" clId="{3544C330-697D-4E51-A165-8EA7912E4EB7}" dt="2025-02-13T16:29:42.729" v="377" actId="14100"/>
          <ac:spMkLst>
            <pc:docMk/>
            <pc:sldMk cId="338131953" sldId="296"/>
            <ac:spMk id="49" creationId="{806FD184-B581-4AF5-B235-E25B8088BAE6}"/>
          </ac:spMkLst>
        </pc:spChg>
        <pc:picChg chg="mod">
          <ac:chgData name="Courtney Tenhover" userId="af8533f69a9cd484" providerId="LiveId" clId="{3544C330-697D-4E51-A165-8EA7912E4EB7}" dt="2025-02-13T16:29:44.653" v="378" actId="1076"/>
          <ac:picMkLst>
            <pc:docMk/>
            <pc:sldMk cId="338131953" sldId="296"/>
            <ac:picMk id="1028" creationId="{00AC1DC3-82B8-439C-8BAB-CB5095C8D0A9}"/>
          </ac:picMkLst>
        </pc:picChg>
      </pc:sldChg>
      <pc:sldChg chg="modSp mod ord">
        <pc:chgData name="Courtney Tenhover" userId="af8533f69a9cd484" providerId="LiveId" clId="{3544C330-697D-4E51-A165-8EA7912E4EB7}" dt="2025-02-14T17:05:09.793" v="830"/>
        <pc:sldMkLst>
          <pc:docMk/>
          <pc:sldMk cId="1418819886" sldId="298"/>
        </pc:sldMkLst>
        <pc:spChg chg="mod">
          <ac:chgData name="Courtney Tenhover" userId="af8533f69a9cd484" providerId="LiveId" clId="{3544C330-697D-4E51-A165-8EA7912E4EB7}" dt="2025-02-14T17:04:54.461" v="826" actId="1076"/>
          <ac:spMkLst>
            <pc:docMk/>
            <pc:sldMk cId="1418819886" sldId="298"/>
            <ac:spMk id="2" creationId="{00000000-0000-0000-0000-000000000000}"/>
          </ac:spMkLst>
        </pc:spChg>
        <pc:spChg chg="mod">
          <ac:chgData name="Courtney Tenhover" userId="af8533f69a9cd484" providerId="LiveId" clId="{3544C330-697D-4E51-A165-8EA7912E4EB7}" dt="2025-02-14T17:04:56.428" v="827" actId="1076"/>
          <ac:spMkLst>
            <pc:docMk/>
            <pc:sldMk cId="1418819886" sldId="298"/>
            <ac:spMk id="38" creationId="{00000000-0000-0000-0000-000000000000}"/>
          </ac:spMkLst>
        </pc:spChg>
        <pc:picChg chg="mod">
          <ac:chgData name="Courtney Tenhover" userId="af8533f69a9cd484" providerId="LiveId" clId="{3544C330-697D-4E51-A165-8EA7912E4EB7}" dt="2025-02-14T17:04:58.980" v="828" actId="1076"/>
          <ac:picMkLst>
            <pc:docMk/>
            <pc:sldMk cId="1418819886" sldId="298"/>
            <ac:picMk id="54" creationId="{3067D24A-1042-4329-83B8-3078934EFA11}"/>
          </ac:picMkLst>
        </pc:picChg>
      </pc:sldChg>
      <pc:sldChg chg="new">
        <pc:chgData name="Courtney Tenhover" userId="af8533f69a9cd484" providerId="LiveId" clId="{3544C330-697D-4E51-A165-8EA7912E4EB7}" dt="2025-02-13T16:29:36.654" v="375" actId="680"/>
        <pc:sldMkLst>
          <pc:docMk/>
          <pc:sldMk cId="1395866306" sldId="299"/>
        </pc:sldMkLst>
        <pc:spChg chg="add mod">
          <ac:chgData name="Courtney Tenhover" userId="af8533f69a9cd484" providerId="LiveId" clId="{3544C330-697D-4E51-A165-8EA7912E4EB7}" dt="2025-02-14T17:20:40.034" v="1003" actId="20577"/>
          <ac:spMkLst>
            <pc:docMk/>
            <pc:sldMk cId="1395866306" sldId="299"/>
            <ac:spMk id="2" creationId="{2BA07D22-0DC9-4895-9D41-C58FD343E680}"/>
          </ac:spMkLst>
        </pc:spChg>
      </pc:sldChg>
      <pc:sldChg chg="addSp delSp modSp add mod">
        <pc:chgData name="Courtney Tenhover" userId="af8533f69a9cd484" providerId="LiveId" clId="{3544C330-697D-4E51-A165-8EA7912E4EB7}" dt="2025-02-14T17:21:21.691" v="1022" actId="14100"/>
        <pc:sldMkLst>
          <pc:docMk/>
          <pc:sldMk cId="4160541621" sldId="300"/>
        </pc:sldMkLst>
        <pc:spChg chg="mod">
          <ac:chgData name="Courtney Tenhover" userId="af8533f69a9cd484" providerId="LiveId" clId="{3544C330-697D-4E51-A165-8EA7912E4EB7}" dt="2025-02-14T17:21:21.691" v="1022" actId="14100"/>
          <ac:spMkLst>
            <pc:docMk/>
            <pc:sldMk cId="4160541621" sldId="300"/>
            <ac:spMk id="2" creationId="{00000000-0000-0000-0000-000000000000}"/>
          </ac:spMkLst>
        </pc:spChg>
        <pc:spChg chg="mod">
          <ac:chgData name="Courtney Tenhover" userId="af8533f69a9cd484" providerId="LiveId" clId="{3544C330-697D-4E51-A165-8EA7912E4EB7}" dt="2025-02-13T16:36:34.138" v="432" actId="1076"/>
          <ac:spMkLst>
            <pc:docMk/>
            <pc:sldMk cId="4160541621" sldId="300"/>
            <ac:spMk id="3" creationId="{00000000-0000-0000-0000-000000000000}"/>
          </ac:spMkLst>
        </pc:spChg>
        <pc:spChg chg="add mod">
          <ac:chgData name="Courtney Tenhover" userId="af8533f69a9cd484" providerId="LiveId" clId="{3544C330-697D-4E51-A165-8EA7912E4EB7}" dt="2025-02-14T17:21:14.499" v="1019" actId="20577"/>
          <ac:spMkLst>
            <pc:docMk/>
            <pc:sldMk cId="4160541621" sldId="300"/>
            <ac:spMk id="8" creationId="{7D5855B0-C4B5-487B-8555-94B567121885}"/>
          </ac:spMkLst>
        </pc:spChg>
        <pc:spChg chg="add del">
          <ac:chgData name="Courtney Tenhover" userId="af8533f69a9cd484" providerId="LiveId" clId="{3544C330-697D-4E51-A165-8EA7912E4EB7}" dt="2025-02-13T16:33:09.841" v="400" actId="478"/>
          <ac:spMkLst>
            <pc:docMk/>
            <pc:sldMk cId="4160541621" sldId="300"/>
            <ac:spMk id="33" creationId="{E2F3BF5C-1AD7-406A-9457-4FEBDCEB1AA0}"/>
          </ac:spMkLst>
        </pc:spChg>
        <pc:spChg chg="del">
          <ac:chgData name="Courtney Tenhover" userId="af8533f69a9cd484" providerId="LiveId" clId="{3544C330-697D-4E51-A165-8EA7912E4EB7}" dt="2025-02-13T16:30:00.064" v="381" actId="478"/>
          <ac:spMkLst>
            <pc:docMk/>
            <pc:sldMk cId="4160541621" sldId="300"/>
            <ac:spMk id="49" creationId="{806FD184-B581-4AF5-B235-E25B8088BAE6}"/>
          </ac:spMkLst>
        </pc:spChg>
        <pc:picChg chg="add mod">
          <ac:chgData name="Courtney Tenhover" userId="af8533f69a9cd484" providerId="LiveId" clId="{3544C330-697D-4E51-A165-8EA7912E4EB7}" dt="2025-02-13T16:38:09.118" v="461" actId="1440"/>
          <ac:picMkLst>
            <pc:docMk/>
            <pc:sldMk cId="4160541621" sldId="300"/>
            <ac:picMk id="4" creationId="{1C4161F3-F753-41EA-A6C8-F0460B9DB3C0}"/>
          </ac:picMkLst>
        </pc:picChg>
        <pc:picChg chg="add mod">
          <ac:chgData name="Courtney Tenhover" userId="af8533f69a9cd484" providerId="LiveId" clId="{3544C330-697D-4E51-A165-8EA7912E4EB7}" dt="2025-02-13T16:38:09.118" v="461" actId="1440"/>
          <ac:picMkLst>
            <pc:docMk/>
            <pc:sldMk cId="4160541621" sldId="300"/>
            <ac:picMk id="7" creationId="{982BB006-A862-4EF4-87F6-D10EBDA2517E}"/>
          </ac:picMkLst>
        </pc:picChg>
        <pc:picChg chg="del">
          <ac:chgData name="Courtney Tenhover" userId="af8533f69a9cd484" providerId="LiveId" clId="{3544C330-697D-4E51-A165-8EA7912E4EB7}" dt="2025-02-13T16:30:01.119" v="383" actId="478"/>
          <ac:picMkLst>
            <pc:docMk/>
            <pc:sldMk cId="4160541621" sldId="300"/>
            <ac:picMk id="15" creationId="{026F6B8E-7285-4BDE-8332-364F65D31325}"/>
          </ac:picMkLst>
        </pc:picChg>
        <pc:picChg chg="del">
          <ac:chgData name="Courtney Tenhover" userId="af8533f69a9cd484" providerId="LiveId" clId="{3544C330-697D-4E51-A165-8EA7912E4EB7}" dt="2025-02-13T16:30:02.204" v="384" actId="478"/>
          <ac:picMkLst>
            <pc:docMk/>
            <pc:sldMk cId="4160541621" sldId="300"/>
            <ac:picMk id="32" creationId="{9FF6DD18-7663-475A-968D-1FCBDA874FCE}"/>
          </ac:picMkLst>
        </pc:picChg>
        <pc:picChg chg="add mod">
          <ac:chgData name="Courtney Tenhover" userId="af8533f69a9cd484" providerId="LiveId" clId="{3544C330-697D-4E51-A165-8EA7912E4EB7}" dt="2025-02-13T16:38:09.118" v="461" actId="1440"/>
          <ac:picMkLst>
            <pc:docMk/>
            <pc:sldMk cId="4160541621" sldId="300"/>
            <ac:picMk id="1026" creationId="{542F9E6C-01B6-48BF-853D-EB644949D11D}"/>
          </ac:picMkLst>
        </pc:picChg>
        <pc:picChg chg="del">
          <ac:chgData name="Courtney Tenhover" userId="af8533f69a9cd484" providerId="LiveId" clId="{3544C330-697D-4E51-A165-8EA7912E4EB7}" dt="2025-02-13T16:30:00.551" v="382" actId="478"/>
          <ac:picMkLst>
            <pc:docMk/>
            <pc:sldMk cId="4160541621" sldId="300"/>
            <ac:picMk id="1028" creationId="{00AC1DC3-82B8-439C-8BAB-CB5095C8D0A9}"/>
          </ac:picMkLst>
        </pc:picChg>
        <pc:picChg chg="add mod">
          <ac:chgData name="Courtney Tenhover" userId="af8533f69a9cd484" providerId="LiveId" clId="{3544C330-697D-4E51-A165-8EA7912E4EB7}" dt="2025-02-13T16:38:09.118" v="461" actId="1440"/>
          <ac:picMkLst>
            <pc:docMk/>
            <pc:sldMk cId="4160541621" sldId="300"/>
            <ac:picMk id="1030" creationId="{4A7A3751-AC4A-48C9-97D5-423F17AE5858}"/>
          </ac:picMkLst>
        </pc:picChg>
        <pc:picChg chg="add mod">
          <ac:chgData name="Courtney Tenhover" userId="af8533f69a9cd484" providerId="LiveId" clId="{3544C330-697D-4E51-A165-8EA7912E4EB7}" dt="2025-02-13T16:38:09.118" v="461" actId="1440"/>
          <ac:picMkLst>
            <pc:docMk/>
            <pc:sldMk cId="4160541621" sldId="300"/>
            <ac:picMk id="1032" creationId="{51A5E115-5C12-4E36-9DB8-CF18F7BBA1C6}"/>
          </ac:picMkLst>
        </pc:picChg>
        <pc:picChg chg="add mod">
          <ac:chgData name="Courtney Tenhover" userId="af8533f69a9cd484" providerId="LiveId" clId="{3544C330-697D-4E51-A165-8EA7912E4EB7}" dt="2025-02-13T16:38:09.118" v="461" actId="1440"/>
          <ac:picMkLst>
            <pc:docMk/>
            <pc:sldMk cId="4160541621" sldId="300"/>
            <ac:picMk id="1034" creationId="{48AEB424-0C4D-4014-B69B-32D6CE375C9B}"/>
          </ac:picMkLst>
        </pc:picChg>
        <pc:picChg chg="add mod">
          <ac:chgData name="Courtney Tenhover" userId="af8533f69a9cd484" providerId="LiveId" clId="{3544C330-697D-4E51-A165-8EA7912E4EB7}" dt="2025-02-13T16:38:09.118" v="461" actId="1440"/>
          <ac:picMkLst>
            <pc:docMk/>
            <pc:sldMk cId="4160541621" sldId="300"/>
            <ac:picMk id="1036" creationId="{E1A99400-810A-49B9-823B-AD65004182E9}"/>
          </ac:picMkLst>
        </pc:picChg>
      </pc:sldChg>
      <pc:sldChg chg="addSp delSp modSp add mod ord modNotesTx">
        <pc:chgData name="Courtney Tenhover" userId="af8533f69a9cd484" providerId="LiveId" clId="{3544C330-697D-4E51-A165-8EA7912E4EB7}" dt="2025-02-14T17:04:44.400" v="823" actId="1037"/>
        <pc:sldMkLst>
          <pc:docMk/>
          <pc:sldMk cId="2026029857" sldId="301"/>
        </pc:sldMkLst>
        <pc:spChg chg="mod">
          <ac:chgData name="Courtney Tenhover" userId="af8533f69a9cd484" providerId="LiveId" clId="{3544C330-697D-4E51-A165-8EA7912E4EB7}" dt="2025-02-14T17:04:31.480" v="802" actId="1076"/>
          <ac:spMkLst>
            <pc:docMk/>
            <pc:sldMk cId="2026029857" sldId="301"/>
            <ac:spMk id="2" creationId="{00000000-0000-0000-0000-000000000000}"/>
          </ac:spMkLst>
        </pc:spChg>
        <pc:spChg chg="mod">
          <ac:chgData name="Courtney Tenhover" userId="af8533f69a9cd484" providerId="LiveId" clId="{3544C330-697D-4E51-A165-8EA7912E4EB7}" dt="2025-02-14T17:04:34.229" v="803" actId="1076"/>
          <ac:spMkLst>
            <pc:docMk/>
            <pc:sldMk cId="2026029857" sldId="301"/>
            <ac:spMk id="38" creationId="{00000000-0000-0000-0000-000000000000}"/>
          </ac:spMkLst>
        </pc:spChg>
        <pc:spChg chg="mod">
          <ac:chgData name="Courtney Tenhover" userId="af8533f69a9cd484" providerId="LiveId" clId="{3544C330-697D-4E51-A165-8EA7912E4EB7}" dt="2025-02-14T17:04:44.400" v="823" actId="1037"/>
          <ac:spMkLst>
            <pc:docMk/>
            <pc:sldMk cId="2026029857" sldId="301"/>
            <ac:spMk id="47" creationId="{00000000-0000-0000-0000-000000000000}"/>
          </ac:spMkLst>
        </pc:spChg>
        <pc:picChg chg="mod">
          <ac:chgData name="Courtney Tenhover" userId="af8533f69a9cd484" providerId="LiveId" clId="{3544C330-697D-4E51-A165-8EA7912E4EB7}" dt="2025-02-14T17:04:36.730" v="804" actId="1076"/>
          <ac:picMkLst>
            <pc:docMk/>
            <pc:sldMk cId="2026029857" sldId="301"/>
            <ac:picMk id="54" creationId="{3067D24A-1042-4329-83B8-3078934EFA11}"/>
          </ac:picMkLst>
        </pc:picChg>
        <pc:picChg chg="del">
          <ac:chgData name="Courtney Tenhover" userId="af8533f69a9cd484" providerId="LiveId" clId="{3544C330-697D-4E51-A165-8EA7912E4EB7}" dt="2025-02-13T16:51:47.739" v="755" actId="478"/>
          <ac:picMkLst>
            <pc:docMk/>
            <pc:sldMk cId="2026029857" sldId="301"/>
            <ac:picMk id="1026" creationId="{CC8E97B2-78D3-4810-B08B-F3E44FB1F664}"/>
          </ac:picMkLst>
        </pc:picChg>
        <pc:picChg chg="add mod">
          <ac:chgData name="Courtney Tenhover" userId="af8533f69a9cd484" providerId="LiveId" clId="{3544C330-697D-4E51-A165-8EA7912E4EB7}" dt="2025-02-13T16:51:55.700" v="759" actId="1440"/>
          <ac:picMkLst>
            <pc:docMk/>
            <pc:sldMk cId="2026029857" sldId="301"/>
            <ac:picMk id="2050" creationId="{6A62BCC0-080C-48FD-B9C1-3C9184E75CFF}"/>
          </ac:picMkLst>
        </pc:picChg>
      </pc:sldChg>
      <pc:sldChg chg="addSp delSp modSp add mod ord">
        <pc:chgData name="Courtney Tenhover" userId="af8533f69a9cd484" providerId="LiveId" clId="{3544C330-697D-4E51-A165-8EA7912E4EB7}" dt="2025-02-14T17:21:27.488" v="1023" actId="1076"/>
        <pc:sldMkLst>
          <pc:docMk/>
          <pc:sldMk cId="2263598897" sldId="302"/>
        </pc:sldMkLst>
        <pc:spChg chg="del mod">
          <ac:chgData name="Courtney Tenhover" userId="af8533f69a9cd484" providerId="LiveId" clId="{3544C330-697D-4E51-A165-8EA7912E4EB7}" dt="2025-02-14T17:20:15.114" v="989" actId="478"/>
          <ac:spMkLst>
            <pc:docMk/>
            <pc:sldMk cId="2263598897" sldId="302"/>
            <ac:spMk id="2" creationId="{00000000-0000-0000-0000-000000000000}"/>
          </ac:spMkLst>
        </pc:spChg>
        <pc:spChg chg="del">
          <ac:chgData name="Courtney Tenhover" userId="af8533f69a9cd484" providerId="LiveId" clId="{3544C330-697D-4E51-A165-8EA7912E4EB7}" dt="2025-02-14T17:05:34.193" v="844" actId="478"/>
          <ac:spMkLst>
            <pc:docMk/>
            <pc:sldMk cId="2263598897" sldId="302"/>
            <ac:spMk id="3" creationId="{00000000-0000-0000-0000-000000000000}"/>
          </ac:spMkLst>
        </pc:spChg>
        <pc:spChg chg="add mod">
          <ac:chgData name="Courtney Tenhover" userId="af8533f69a9cd484" providerId="LiveId" clId="{3544C330-697D-4E51-A165-8EA7912E4EB7}" dt="2025-02-14T17:21:27.488" v="1023" actId="1076"/>
          <ac:spMkLst>
            <pc:docMk/>
            <pc:sldMk cId="2263598897" sldId="302"/>
            <ac:spMk id="6" creationId="{31FEA6E3-EE2F-408B-BFFB-6E4E2F1277D5}"/>
          </ac:spMkLst>
        </pc:spChg>
        <pc:spChg chg="del">
          <ac:chgData name="Courtney Tenhover" userId="af8533f69a9cd484" providerId="LiveId" clId="{3544C330-697D-4E51-A165-8EA7912E4EB7}" dt="2025-02-14T17:05:33.250" v="843" actId="478"/>
          <ac:spMkLst>
            <pc:docMk/>
            <pc:sldMk cId="2263598897" sldId="302"/>
            <ac:spMk id="8" creationId="{7D5855B0-C4B5-487B-8555-94B567121885}"/>
          </ac:spMkLst>
        </pc:spChg>
        <pc:spChg chg="add del mod">
          <ac:chgData name="Courtney Tenhover" userId="af8533f69a9cd484" providerId="LiveId" clId="{3544C330-697D-4E51-A165-8EA7912E4EB7}" dt="2025-02-14T17:20:16.890" v="990" actId="478"/>
          <ac:spMkLst>
            <pc:docMk/>
            <pc:sldMk cId="2263598897" sldId="302"/>
            <ac:spMk id="11" creationId="{EC6258BE-8492-4F6F-ACB4-F68AEB346BFB}"/>
          </ac:spMkLst>
        </pc:spChg>
        <pc:picChg chg="del">
          <ac:chgData name="Courtney Tenhover" userId="af8533f69a9cd484" providerId="LiveId" clId="{3544C330-697D-4E51-A165-8EA7912E4EB7}" dt="2025-02-14T17:05:28.785" v="837" actId="478"/>
          <ac:picMkLst>
            <pc:docMk/>
            <pc:sldMk cId="2263598897" sldId="302"/>
            <ac:picMk id="4" creationId="{1C4161F3-F753-41EA-A6C8-F0460B9DB3C0}"/>
          </ac:picMkLst>
        </pc:picChg>
        <pc:picChg chg="add mod">
          <ac:chgData name="Courtney Tenhover" userId="af8533f69a9cd484" providerId="LiveId" clId="{3544C330-697D-4E51-A165-8EA7912E4EB7}" dt="2025-02-14T17:19:33.741" v="907" actId="1076"/>
          <ac:picMkLst>
            <pc:docMk/>
            <pc:sldMk cId="2263598897" sldId="302"/>
            <ac:picMk id="5" creationId="{DA511F8E-FD21-49F6-A5A1-AB4119080023}"/>
          </ac:picMkLst>
        </pc:picChg>
        <pc:picChg chg="del">
          <ac:chgData name="Courtney Tenhover" userId="af8533f69a9cd484" providerId="LiveId" clId="{3544C330-697D-4E51-A165-8EA7912E4EB7}" dt="2025-02-14T17:05:30.081" v="840" actId="478"/>
          <ac:picMkLst>
            <pc:docMk/>
            <pc:sldMk cId="2263598897" sldId="302"/>
            <ac:picMk id="7" creationId="{982BB006-A862-4EF4-87F6-D10EBDA2517E}"/>
          </ac:picMkLst>
        </pc:picChg>
        <pc:picChg chg="add mod">
          <ac:chgData name="Courtney Tenhover" userId="af8533f69a9cd484" providerId="LiveId" clId="{3544C330-697D-4E51-A165-8EA7912E4EB7}" dt="2025-02-14T17:20:25.837" v="991" actId="1582"/>
          <ac:picMkLst>
            <pc:docMk/>
            <pc:sldMk cId="2263598897" sldId="302"/>
            <ac:picMk id="10" creationId="{3C51B969-0CD5-4BE0-969D-0BD116920AD5}"/>
          </ac:picMkLst>
        </pc:picChg>
        <pc:picChg chg="del">
          <ac:chgData name="Courtney Tenhover" userId="af8533f69a9cd484" providerId="LiveId" clId="{3544C330-697D-4E51-A165-8EA7912E4EB7}" dt="2025-02-14T17:05:28.334" v="836" actId="478"/>
          <ac:picMkLst>
            <pc:docMk/>
            <pc:sldMk cId="2263598897" sldId="302"/>
            <ac:picMk id="1026" creationId="{542F9E6C-01B6-48BF-853D-EB644949D11D}"/>
          </ac:picMkLst>
        </pc:picChg>
        <pc:picChg chg="del">
          <ac:chgData name="Courtney Tenhover" userId="af8533f69a9cd484" providerId="LiveId" clId="{3544C330-697D-4E51-A165-8EA7912E4EB7}" dt="2025-02-14T17:05:30.496" v="841" actId="478"/>
          <ac:picMkLst>
            <pc:docMk/>
            <pc:sldMk cId="2263598897" sldId="302"/>
            <ac:picMk id="1030" creationId="{4A7A3751-AC4A-48C9-97D5-423F17AE5858}"/>
          </ac:picMkLst>
        </pc:picChg>
        <pc:picChg chg="del">
          <ac:chgData name="Courtney Tenhover" userId="af8533f69a9cd484" providerId="LiveId" clId="{3544C330-697D-4E51-A165-8EA7912E4EB7}" dt="2025-02-14T17:05:29.585" v="839" actId="478"/>
          <ac:picMkLst>
            <pc:docMk/>
            <pc:sldMk cId="2263598897" sldId="302"/>
            <ac:picMk id="1032" creationId="{51A5E115-5C12-4E36-9DB8-CF18F7BBA1C6}"/>
          </ac:picMkLst>
        </pc:picChg>
        <pc:picChg chg="del">
          <ac:chgData name="Courtney Tenhover" userId="af8533f69a9cd484" providerId="LiveId" clId="{3544C330-697D-4E51-A165-8EA7912E4EB7}" dt="2025-02-14T17:05:30.981" v="842" actId="478"/>
          <ac:picMkLst>
            <pc:docMk/>
            <pc:sldMk cId="2263598897" sldId="302"/>
            <ac:picMk id="1034" creationId="{48AEB424-0C4D-4014-B69B-32D6CE375C9B}"/>
          </ac:picMkLst>
        </pc:picChg>
        <pc:picChg chg="del">
          <ac:chgData name="Courtney Tenhover" userId="af8533f69a9cd484" providerId="LiveId" clId="{3544C330-697D-4E51-A165-8EA7912E4EB7}" dt="2025-02-14T17:05:29.192" v="838" actId="478"/>
          <ac:picMkLst>
            <pc:docMk/>
            <pc:sldMk cId="2263598897" sldId="302"/>
            <ac:picMk id="1036" creationId="{E1A99400-810A-49B9-823B-AD65004182E9}"/>
          </ac:picMkLst>
        </pc:picChg>
      </pc:sldChg>
      <pc:sldChg chg="del">
        <pc:chgData name="Courtney Tenhover" userId="af8533f69a9cd484" providerId="LiveId" clId="{3544C330-697D-4E51-A165-8EA7912E4EB7}" dt="2025-02-12T20:42:07.678" v="3" actId="47"/>
        <pc:sldMkLst>
          <pc:docMk/>
          <pc:sldMk cId="1455590964" sldId="314"/>
        </pc:sldMkLst>
      </pc:sldChg>
      <pc:sldChg chg="del">
        <pc:chgData name="Courtney Tenhover" userId="af8533f69a9cd484" providerId="LiveId" clId="{3544C330-697D-4E51-A165-8EA7912E4EB7}" dt="2025-02-12T20:42:07.912" v="4" actId="47"/>
        <pc:sldMkLst>
          <pc:docMk/>
          <pc:sldMk cId="0" sldId="315"/>
        </pc:sldMkLst>
      </pc:sldChg>
      <pc:sldChg chg="del">
        <pc:chgData name="Courtney Tenhover" userId="af8533f69a9cd484" providerId="LiveId" clId="{3544C330-697D-4E51-A165-8EA7912E4EB7}" dt="2025-02-12T20:42:08.311" v="6" actId="47"/>
        <pc:sldMkLst>
          <pc:docMk/>
          <pc:sldMk cId="0" sldId="316"/>
        </pc:sldMkLst>
      </pc:sldChg>
      <pc:sldChg chg="del">
        <pc:chgData name="Courtney Tenhover" userId="af8533f69a9cd484" providerId="LiveId" clId="{3544C330-697D-4E51-A165-8EA7912E4EB7}" dt="2025-02-12T20:42:09.344" v="11" actId="47"/>
        <pc:sldMkLst>
          <pc:docMk/>
          <pc:sldMk cId="2585816644" sldId="419"/>
        </pc:sldMkLst>
      </pc:sldChg>
      <pc:sldChg chg="del">
        <pc:chgData name="Courtney Tenhover" userId="af8533f69a9cd484" providerId="LiveId" clId="{3544C330-697D-4E51-A165-8EA7912E4EB7}" dt="2025-02-12T20:42:09.135" v="10" actId="47"/>
        <pc:sldMkLst>
          <pc:docMk/>
          <pc:sldMk cId="3727401268" sldId="464"/>
        </pc:sldMkLst>
      </pc:sldChg>
      <pc:sldChg chg="del">
        <pc:chgData name="Courtney Tenhover" userId="af8533f69a9cd484" providerId="LiveId" clId="{3544C330-697D-4E51-A165-8EA7912E4EB7}" dt="2025-02-12T20:42:09.568" v="12" actId="47"/>
        <pc:sldMkLst>
          <pc:docMk/>
          <pc:sldMk cId="818270434" sldId="465"/>
        </pc:sldMkLst>
      </pc:sldChg>
      <pc:sldChg chg="del">
        <pc:chgData name="Courtney Tenhover" userId="af8533f69a9cd484" providerId="LiveId" clId="{3544C330-697D-4E51-A165-8EA7912E4EB7}" dt="2025-02-12T20:42:10.302" v="15" actId="47"/>
        <pc:sldMkLst>
          <pc:docMk/>
          <pc:sldMk cId="135799642" sldId="504"/>
        </pc:sldMkLst>
      </pc:sldChg>
      <pc:sldChg chg="del">
        <pc:chgData name="Courtney Tenhover" userId="af8533f69a9cd484" providerId="LiveId" clId="{3544C330-697D-4E51-A165-8EA7912E4EB7}" dt="2025-02-12T20:42:09.788" v="13" actId="47"/>
        <pc:sldMkLst>
          <pc:docMk/>
          <pc:sldMk cId="4052750632" sldId="505"/>
        </pc:sldMkLst>
      </pc:sldChg>
      <pc:sldChg chg="del">
        <pc:chgData name="Courtney Tenhover" userId="af8533f69a9cd484" providerId="LiveId" clId="{3544C330-697D-4E51-A165-8EA7912E4EB7}" dt="2025-02-12T20:42:10.559" v="16" actId="47"/>
        <pc:sldMkLst>
          <pc:docMk/>
          <pc:sldMk cId="3180806835" sldId="506"/>
        </pc:sldMkLst>
      </pc:sldChg>
      <pc:sldChg chg="del">
        <pc:chgData name="Courtney Tenhover" userId="af8533f69a9cd484" providerId="LiveId" clId="{3544C330-697D-4E51-A165-8EA7912E4EB7}" dt="2025-02-12T20:42:10.871" v="17" actId="47"/>
        <pc:sldMkLst>
          <pc:docMk/>
          <pc:sldMk cId="3583834518" sldId="517"/>
        </pc:sldMkLst>
      </pc:sldChg>
      <pc:sldChg chg="del">
        <pc:chgData name="Courtney Tenhover" userId="af8533f69a9cd484" providerId="LiveId" clId="{3544C330-697D-4E51-A165-8EA7912E4EB7}" dt="2025-02-12T20:42:11.234" v="18" actId="47"/>
        <pc:sldMkLst>
          <pc:docMk/>
          <pc:sldMk cId="1469702373" sldId="518"/>
        </pc:sldMkLst>
      </pc:sldChg>
      <pc:sldChg chg="del">
        <pc:chgData name="Courtney Tenhover" userId="af8533f69a9cd484" providerId="LiveId" clId="{3544C330-697D-4E51-A165-8EA7912E4EB7}" dt="2025-02-12T20:42:08.527" v="7" actId="47"/>
        <pc:sldMkLst>
          <pc:docMk/>
          <pc:sldMk cId="0" sldId="519"/>
        </pc:sldMkLst>
      </pc:sldChg>
      <pc:sldChg chg="del">
        <pc:chgData name="Courtney Tenhover" userId="af8533f69a9cd484" providerId="LiveId" clId="{3544C330-697D-4E51-A165-8EA7912E4EB7}" dt="2025-02-12T20:42:12.266" v="21" actId="47"/>
        <pc:sldMkLst>
          <pc:docMk/>
          <pc:sldMk cId="0" sldId="520"/>
        </pc:sldMkLst>
      </pc:sldChg>
      <pc:sldChg chg="del">
        <pc:chgData name="Courtney Tenhover" userId="af8533f69a9cd484" providerId="LiveId" clId="{3544C330-697D-4E51-A165-8EA7912E4EB7}" dt="2025-02-12T20:42:11.842" v="20" actId="47"/>
        <pc:sldMkLst>
          <pc:docMk/>
          <pc:sldMk cId="0" sldId="521"/>
        </pc:sldMkLst>
      </pc:sldChg>
      <pc:sldChg chg="del">
        <pc:chgData name="Courtney Tenhover" userId="af8533f69a9cd484" providerId="LiveId" clId="{3544C330-697D-4E51-A165-8EA7912E4EB7}" dt="2025-02-12T20:42:08.729" v="8" actId="47"/>
        <pc:sldMkLst>
          <pc:docMk/>
          <pc:sldMk cId="0" sldId="522"/>
        </pc:sldMkLst>
      </pc:sldChg>
      <pc:sldChg chg="del">
        <pc:chgData name="Courtney Tenhover" userId="af8533f69a9cd484" providerId="LiveId" clId="{3544C330-697D-4E51-A165-8EA7912E4EB7}" dt="2025-02-12T20:42:10.040" v="14" actId="47"/>
        <pc:sldMkLst>
          <pc:docMk/>
          <pc:sldMk cId="2832980355" sldId="523"/>
        </pc:sldMkLst>
      </pc:sldChg>
      <pc:sldMasterChg chg="del delSldLayout">
        <pc:chgData name="Courtney Tenhover" userId="af8533f69a9cd484" providerId="LiveId" clId="{3544C330-697D-4E51-A165-8EA7912E4EB7}" dt="2025-02-12T20:42:13.639" v="23" actId="47"/>
        <pc:sldMasterMkLst>
          <pc:docMk/>
          <pc:sldMasterMk cId="4100046137" sldId="2147483660"/>
        </pc:sldMasterMkLst>
        <pc:sldLayoutChg chg="del">
          <pc:chgData name="Courtney Tenhover" userId="af8533f69a9cd484" providerId="LiveId" clId="{3544C330-697D-4E51-A165-8EA7912E4EB7}" dt="2025-02-12T20:42:13.639" v="23" actId="47"/>
          <pc:sldLayoutMkLst>
            <pc:docMk/>
            <pc:sldMasterMk cId="4100046137" sldId="2147483660"/>
            <pc:sldLayoutMk cId="2197768328" sldId="2147483661"/>
          </pc:sldLayoutMkLst>
        </pc:sldLayoutChg>
        <pc:sldLayoutChg chg="del">
          <pc:chgData name="Courtney Tenhover" userId="af8533f69a9cd484" providerId="LiveId" clId="{3544C330-697D-4E51-A165-8EA7912E4EB7}" dt="2025-02-12T20:42:13.639" v="23" actId="47"/>
          <pc:sldLayoutMkLst>
            <pc:docMk/>
            <pc:sldMasterMk cId="4100046137" sldId="2147483660"/>
            <pc:sldLayoutMk cId="1141270438" sldId="2147483662"/>
          </pc:sldLayoutMkLst>
        </pc:sldLayoutChg>
        <pc:sldLayoutChg chg="del">
          <pc:chgData name="Courtney Tenhover" userId="af8533f69a9cd484" providerId="LiveId" clId="{3544C330-697D-4E51-A165-8EA7912E4EB7}" dt="2025-02-12T20:42:13.639" v="23" actId="47"/>
          <pc:sldLayoutMkLst>
            <pc:docMk/>
            <pc:sldMasterMk cId="4100046137" sldId="2147483660"/>
            <pc:sldLayoutMk cId="2286797375" sldId="2147483663"/>
          </pc:sldLayoutMkLst>
        </pc:sldLayoutChg>
        <pc:sldLayoutChg chg="del">
          <pc:chgData name="Courtney Tenhover" userId="af8533f69a9cd484" providerId="LiveId" clId="{3544C330-697D-4E51-A165-8EA7912E4EB7}" dt="2025-02-12T20:42:13.639" v="23" actId="47"/>
          <pc:sldLayoutMkLst>
            <pc:docMk/>
            <pc:sldMasterMk cId="4100046137" sldId="2147483660"/>
            <pc:sldLayoutMk cId="1563901142" sldId="2147483664"/>
          </pc:sldLayoutMkLst>
        </pc:sldLayoutChg>
        <pc:sldLayoutChg chg="del">
          <pc:chgData name="Courtney Tenhover" userId="af8533f69a9cd484" providerId="LiveId" clId="{3544C330-697D-4E51-A165-8EA7912E4EB7}" dt="2025-02-12T20:42:13.639" v="23" actId="47"/>
          <pc:sldLayoutMkLst>
            <pc:docMk/>
            <pc:sldMasterMk cId="4100046137" sldId="2147483660"/>
            <pc:sldLayoutMk cId="893674753" sldId="2147483665"/>
          </pc:sldLayoutMkLst>
        </pc:sldLayoutChg>
        <pc:sldLayoutChg chg="del">
          <pc:chgData name="Courtney Tenhover" userId="af8533f69a9cd484" providerId="LiveId" clId="{3544C330-697D-4E51-A165-8EA7912E4EB7}" dt="2025-02-12T20:42:13.639" v="23" actId="47"/>
          <pc:sldLayoutMkLst>
            <pc:docMk/>
            <pc:sldMasterMk cId="4100046137" sldId="2147483660"/>
            <pc:sldLayoutMk cId="3505529645" sldId="2147483666"/>
          </pc:sldLayoutMkLst>
        </pc:sldLayoutChg>
        <pc:sldLayoutChg chg="del">
          <pc:chgData name="Courtney Tenhover" userId="af8533f69a9cd484" providerId="LiveId" clId="{3544C330-697D-4E51-A165-8EA7912E4EB7}" dt="2025-02-12T20:42:13.639" v="23" actId="47"/>
          <pc:sldLayoutMkLst>
            <pc:docMk/>
            <pc:sldMasterMk cId="4100046137" sldId="2147483660"/>
            <pc:sldLayoutMk cId="549355115" sldId="2147483667"/>
          </pc:sldLayoutMkLst>
        </pc:sldLayoutChg>
        <pc:sldLayoutChg chg="del">
          <pc:chgData name="Courtney Tenhover" userId="af8533f69a9cd484" providerId="LiveId" clId="{3544C330-697D-4E51-A165-8EA7912E4EB7}" dt="2025-02-12T20:42:13.639" v="23" actId="47"/>
          <pc:sldLayoutMkLst>
            <pc:docMk/>
            <pc:sldMasterMk cId="4100046137" sldId="2147483660"/>
            <pc:sldLayoutMk cId="1030270372" sldId="2147483668"/>
          </pc:sldLayoutMkLst>
        </pc:sldLayoutChg>
        <pc:sldLayoutChg chg="del">
          <pc:chgData name="Courtney Tenhover" userId="af8533f69a9cd484" providerId="LiveId" clId="{3544C330-697D-4E51-A165-8EA7912E4EB7}" dt="2025-02-12T20:42:13.639" v="23" actId="47"/>
          <pc:sldLayoutMkLst>
            <pc:docMk/>
            <pc:sldMasterMk cId="4100046137" sldId="2147483660"/>
            <pc:sldLayoutMk cId="1326872414" sldId="2147483669"/>
          </pc:sldLayoutMkLst>
        </pc:sldLayoutChg>
        <pc:sldLayoutChg chg="del">
          <pc:chgData name="Courtney Tenhover" userId="af8533f69a9cd484" providerId="LiveId" clId="{3544C330-697D-4E51-A165-8EA7912E4EB7}" dt="2025-02-12T20:42:13.639" v="23" actId="47"/>
          <pc:sldLayoutMkLst>
            <pc:docMk/>
            <pc:sldMasterMk cId="4100046137" sldId="2147483660"/>
            <pc:sldLayoutMk cId="3464192254" sldId="2147483670"/>
          </pc:sldLayoutMkLst>
        </pc:sldLayoutChg>
        <pc:sldLayoutChg chg="del">
          <pc:chgData name="Courtney Tenhover" userId="af8533f69a9cd484" providerId="LiveId" clId="{3544C330-697D-4E51-A165-8EA7912E4EB7}" dt="2025-02-12T20:42:13.639" v="23" actId="47"/>
          <pc:sldLayoutMkLst>
            <pc:docMk/>
            <pc:sldMasterMk cId="4100046137" sldId="2147483660"/>
            <pc:sldLayoutMk cId="3101109353" sldId="2147483671"/>
          </pc:sldLayoutMkLst>
        </pc:sldLayoutChg>
        <pc:sldLayoutChg chg="del">
          <pc:chgData name="Courtney Tenhover" userId="af8533f69a9cd484" providerId="LiveId" clId="{3544C330-697D-4E51-A165-8EA7912E4EB7}" dt="2025-02-12T20:42:07.678" v="3" actId="47"/>
          <pc:sldLayoutMkLst>
            <pc:docMk/>
            <pc:sldMasterMk cId="4100046137" sldId="2147483660"/>
            <pc:sldLayoutMk cId="113106322" sldId="2147483672"/>
          </pc:sldLayoutMkLst>
        </pc:sldLayoutChg>
      </pc:sldMasterChg>
      <pc:sldMasterChg chg="del delSldLayout">
        <pc:chgData name="Courtney Tenhover" userId="af8533f69a9cd484" providerId="LiveId" clId="{3544C330-697D-4E51-A165-8EA7912E4EB7}" dt="2025-02-12T20:42:11.234" v="18" actId="47"/>
        <pc:sldMasterMkLst>
          <pc:docMk/>
          <pc:sldMasterMk cId="3895220696" sldId="2147483673"/>
        </pc:sldMasterMkLst>
        <pc:sldLayoutChg chg="del">
          <pc:chgData name="Courtney Tenhover" userId="af8533f69a9cd484" providerId="LiveId" clId="{3544C330-697D-4E51-A165-8EA7912E4EB7}" dt="2025-02-12T20:42:11.234" v="18" actId="47"/>
          <pc:sldLayoutMkLst>
            <pc:docMk/>
            <pc:sldMasterMk cId="3895220696" sldId="2147483673"/>
            <pc:sldLayoutMk cId="2159075747" sldId="2147483674"/>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3414263427" sldId="2147483675"/>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731288171" sldId="2147483676"/>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2538568317" sldId="2147483677"/>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523787559" sldId="2147483678"/>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2514689060" sldId="2147483679"/>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3357902628" sldId="2147483680"/>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3948516391" sldId="2147483681"/>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972798394" sldId="2147483682"/>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212184123" sldId="2147483683"/>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552811974" sldId="2147483684"/>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4080667408" sldId="2147483685"/>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2223830600" sldId="2147483686"/>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1087485310" sldId="2147483687"/>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1476651244" sldId="2147483688"/>
          </pc:sldLayoutMkLst>
        </pc:sldLayoutChg>
        <pc:sldLayoutChg chg="del">
          <pc:chgData name="Courtney Tenhover" userId="af8533f69a9cd484" providerId="LiveId" clId="{3544C330-697D-4E51-A165-8EA7912E4EB7}" dt="2025-02-12T20:42:11.234" v="18" actId="47"/>
          <pc:sldLayoutMkLst>
            <pc:docMk/>
            <pc:sldMasterMk cId="3895220696" sldId="2147483673"/>
            <pc:sldLayoutMk cId="2745749715" sldId="2147483689"/>
          </pc:sldLayoutMkLst>
        </pc:sldLayoutChg>
      </pc:sldMasterChg>
    </pc:docChg>
  </pc:docChgLst>
  <pc:docChgLst>
    <pc:chgData name="Courtney Tenhover" userId="S::ctenhover@lorainccc.edu::ae2cf505-6387-4cc4-9e8f-d6c2096d9cc9" providerId="AD" clId="Web-{1ED15F46-7E44-4D7C-A42A-646EB5A156D8}"/>
    <pc:docChg chg="delSld modSld">
      <pc:chgData name="Courtney Tenhover" userId="S::ctenhover@lorainccc.edu::ae2cf505-6387-4cc4-9e8f-d6c2096d9cc9" providerId="AD" clId="Web-{1ED15F46-7E44-4D7C-A42A-646EB5A156D8}" dt="2025-04-14T19:42:35.638" v="2"/>
      <pc:docMkLst>
        <pc:docMk/>
      </pc:docMkLst>
      <pc:sldChg chg="modSp">
        <pc:chgData name="Courtney Tenhover" userId="S::ctenhover@lorainccc.edu::ae2cf505-6387-4cc4-9e8f-d6c2096d9cc9" providerId="AD" clId="Web-{1ED15F46-7E44-4D7C-A42A-646EB5A156D8}" dt="2025-04-14T19:42:30.576" v="1" actId="20577"/>
        <pc:sldMkLst>
          <pc:docMk/>
          <pc:sldMk cId="0" sldId="269"/>
        </pc:sldMkLst>
        <pc:spChg chg="mod">
          <ac:chgData name="Courtney Tenhover" userId="S::ctenhover@lorainccc.edu::ae2cf505-6387-4cc4-9e8f-d6c2096d9cc9" providerId="AD" clId="Web-{1ED15F46-7E44-4D7C-A42A-646EB5A156D8}" dt="2025-04-14T19:42:30.576" v="1" actId="20577"/>
          <ac:spMkLst>
            <pc:docMk/>
            <pc:sldMk cId="0" sldId="269"/>
            <ac:spMk id="28" creationId="{00000000-0000-0000-0000-000000000000}"/>
          </ac:spMkLst>
        </pc:spChg>
      </pc:sldChg>
      <pc:sldChg chg="del">
        <pc:chgData name="Courtney Tenhover" userId="S::ctenhover@lorainccc.edu::ae2cf505-6387-4cc4-9e8f-d6c2096d9cc9" providerId="AD" clId="Web-{1ED15F46-7E44-4D7C-A42A-646EB5A156D8}" dt="2025-04-14T19:42:35.638" v="2"/>
        <pc:sldMkLst>
          <pc:docMk/>
          <pc:sldMk cId="1418819886" sldId="29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5931EA-CA76-43B6-8D18-26ED6AF72D35}" type="datetimeFigureOut">
              <a:rPr lang="en-US" smtClean="0"/>
              <a:t>4/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F79A3F-AF06-45BF-B567-58C5FCAED328}" type="slidenum">
              <a:rPr lang="en-US" smtClean="0"/>
              <a:t>‹#›</a:t>
            </a:fld>
            <a:endParaRPr lang="en-US"/>
          </a:p>
        </p:txBody>
      </p:sp>
    </p:spTree>
    <p:extLst>
      <p:ext uri="{BB962C8B-B14F-4D97-AF65-F5344CB8AC3E}">
        <p14:creationId xmlns:p14="http://schemas.microsoft.com/office/powerpoint/2010/main" val="3556334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79A3F-AF06-45BF-B567-58C5FCAED328}" type="slidenum">
              <a:rPr lang="en-US" smtClean="0"/>
              <a:t>4</a:t>
            </a:fld>
            <a:endParaRPr lang="en-US"/>
          </a:p>
        </p:txBody>
      </p:sp>
    </p:spTree>
    <p:extLst>
      <p:ext uri="{BB962C8B-B14F-4D97-AF65-F5344CB8AC3E}">
        <p14:creationId xmlns:p14="http://schemas.microsoft.com/office/powerpoint/2010/main" val="3034952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linkedin.com/company/ohio-technet/?viewAsMember=true</a:t>
            </a:r>
          </a:p>
        </p:txBody>
      </p:sp>
      <p:sp>
        <p:nvSpPr>
          <p:cNvPr id="4" name="Slide Number Placeholder 3"/>
          <p:cNvSpPr>
            <a:spLocks noGrp="1"/>
          </p:cNvSpPr>
          <p:nvPr>
            <p:ph type="sldNum" sz="quarter" idx="5"/>
          </p:nvPr>
        </p:nvSpPr>
        <p:spPr/>
        <p:txBody>
          <a:bodyPr/>
          <a:lstStyle/>
          <a:p>
            <a:fld id="{32F79A3F-AF06-45BF-B567-58C5FCAED328}" type="slidenum">
              <a:rPr lang="en-US" smtClean="0"/>
              <a:t>5</a:t>
            </a:fld>
            <a:endParaRPr lang="en-US"/>
          </a:p>
        </p:txBody>
      </p:sp>
    </p:spTree>
    <p:extLst>
      <p:ext uri="{BB962C8B-B14F-4D97-AF65-F5344CB8AC3E}">
        <p14:creationId xmlns:p14="http://schemas.microsoft.com/office/powerpoint/2010/main" val="3430890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lorainccc.edu/about/innovating-investing-leading-for-the-defense-industrial-base/</a:t>
            </a:r>
          </a:p>
        </p:txBody>
      </p:sp>
      <p:sp>
        <p:nvSpPr>
          <p:cNvPr id="4" name="Slide Number Placeholder 3"/>
          <p:cNvSpPr>
            <a:spLocks noGrp="1"/>
          </p:cNvSpPr>
          <p:nvPr>
            <p:ph type="sldNum" sz="quarter" idx="5"/>
          </p:nvPr>
        </p:nvSpPr>
        <p:spPr/>
        <p:txBody>
          <a:bodyPr/>
          <a:lstStyle/>
          <a:p>
            <a:fld id="{32F79A3F-AF06-45BF-B567-58C5FCAED328}" type="slidenum">
              <a:rPr lang="en-US" smtClean="0"/>
              <a:t>6</a:t>
            </a:fld>
            <a:endParaRPr lang="en-US"/>
          </a:p>
        </p:txBody>
      </p:sp>
    </p:spTree>
    <p:extLst>
      <p:ext uri="{BB962C8B-B14F-4D97-AF65-F5344CB8AC3E}">
        <p14:creationId xmlns:p14="http://schemas.microsoft.com/office/powerpoint/2010/main" val="215186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pp.smartsheet.com/b/form/046a9b4fc61e46338b4da857afb6dd58 </a:t>
            </a:r>
          </a:p>
        </p:txBody>
      </p:sp>
      <p:sp>
        <p:nvSpPr>
          <p:cNvPr id="4" name="Slide Number Placeholder 3"/>
          <p:cNvSpPr>
            <a:spLocks noGrp="1"/>
          </p:cNvSpPr>
          <p:nvPr>
            <p:ph type="sldNum" sz="quarter" idx="5"/>
          </p:nvPr>
        </p:nvSpPr>
        <p:spPr/>
        <p:txBody>
          <a:bodyPr/>
          <a:lstStyle/>
          <a:p>
            <a:fld id="{32F79A3F-AF06-45BF-B567-58C5FCAED328}" type="slidenum">
              <a:rPr lang="en-US" smtClean="0"/>
              <a:t>7</a:t>
            </a:fld>
            <a:endParaRPr lang="en-US"/>
          </a:p>
        </p:txBody>
      </p:sp>
    </p:spTree>
    <p:extLst>
      <p:ext uri="{BB962C8B-B14F-4D97-AF65-F5344CB8AC3E}">
        <p14:creationId xmlns:p14="http://schemas.microsoft.com/office/powerpoint/2010/main" val="3639286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9BBFDA-2F3E-4E00-8B95-AEDF288FA9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0416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offered at Penn State, Ohio State, and University of Tennesse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9BBFDA-2F3E-4E00-8B95-AEDF288FA9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280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2leuf3vilid4d.cloudfront.net/-/media/8626BB26F37F4DFDA0CDBED0E934A0E9.ashx?rev=3F39A712BFB9D992D4C3B8662E61C94A</a:t>
            </a:r>
          </a:p>
        </p:txBody>
      </p:sp>
      <p:sp>
        <p:nvSpPr>
          <p:cNvPr id="4" name="Slide Number Placeholder 3"/>
          <p:cNvSpPr>
            <a:spLocks noGrp="1"/>
          </p:cNvSpPr>
          <p:nvPr>
            <p:ph type="sldNum" sz="quarter" idx="5"/>
          </p:nvPr>
        </p:nvSpPr>
        <p:spPr/>
        <p:txBody>
          <a:bodyPr/>
          <a:lstStyle/>
          <a:p>
            <a:fld id="{32F79A3F-AF06-45BF-B567-58C5FCAED328}" type="slidenum">
              <a:rPr lang="en-US" smtClean="0"/>
              <a:t>16</a:t>
            </a:fld>
            <a:endParaRPr lang="en-US"/>
          </a:p>
        </p:txBody>
      </p:sp>
    </p:spTree>
    <p:extLst>
      <p:ext uri="{BB962C8B-B14F-4D97-AF65-F5344CB8AC3E}">
        <p14:creationId xmlns:p14="http://schemas.microsoft.com/office/powerpoint/2010/main" val="1519503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2leuf3vilid4d.cloudfront.net/-/media/8626BB26F37F4DFDA0CDBED0E934A0E9.ashx?rev=3F39A712BFB9D992D4C3B8662E61C94A</a:t>
            </a:r>
          </a:p>
        </p:txBody>
      </p:sp>
      <p:sp>
        <p:nvSpPr>
          <p:cNvPr id="4" name="Slide Number Placeholder 3"/>
          <p:cNvSpPr>
            <a:spLocks noGrp="1"/>
          </p:cNvSpPr>
          <p:nvPr>
            <p:ph type="sldNum" sz="quarter" idx="5"/>
          </p:nvPr>
        </p:nvSpPr>
        <p:spPr/>
        <p:txBody>
          <a:bodyPr/>
          <a:lstStyle/>
          <a:p>
            <a:fld id="{32F79A3F-AF06-45BF-B567-58C5FCAED328}" type="slidenum">
              <a:rPr lang="en-US" smtClean="0"/>
              <a:t>17</a:t>
            </a:fld>
            <a:endParaRPr lang="en-US"/>
          </a:p>
        </p:txBody>
      </p:sp>
    </p:spTree>
    <p:extLst>
      <p:ext uri="{BB962C8B-B14F-4D97-AF65-F5344CB8AC3E}">
        <p14:creationId xmlns:p14="http://schemas.microsoft.com/office/powerpoint/2010/main" val="42874571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tif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C3DC6-9824-46BE-B311-6DCE98C657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626F937-1815-4896-BCDA-FD4FDDEDCC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B6C67DE-93BB-4E2D-9411-36C367959EB2}"/>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5" name="Footer Placeholder 4">
            <a:extLst>
              <a:ext uri="{FF2B5EF4-FFF2-40B4-BE49-F238E27FC236}">
                <a16:creationId xmlns:a16="http://schemas.microsoft.com/office/drawing/2014/main" id="{451D6481-4DF2-4399-BECF-3AD6A31120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21FD6C-F5DC-45FB-B3C3-4172F6673F4E}"/>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4495364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F90A5-F9FA-4C26-BCDE-017542D6EE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D68854F-DAA5-4003-B907-4AB3909AEC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4D976F-D4C1-4283-9177-051BA840B82D}"/>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5" name="Footer Placeholder 4">
            <a:extLst>
              <a:ext uri="{FF2B5EF4-FFF2-40B4-BE49-F238E27FC236}">
                <a16:creationId xmlns:a16="http://schemas.microsoft.com/office/drawing/2014/main" id="{B842D817-C4E7-4518-94FC-F5DC0A9B54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0A0D71-66A5-4B60-8483-FD6C951BD512}"/>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38429021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FB8824-D6BB-4B32-8B75-76D00EC083E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B28C2AF-8D21-4999-9B87-1178C7E11E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7840FA-6C1F-498E-AB0A-984D262CDD11}"/>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5" name="Footer Placeholder 4">
            <a:extLst>
              <a:ext uri="{FF2B5EF4-FFF2-40B4-BE49-F238E27FC236}">
                <a16:creationId xmlns:a16="http://schemas.microsoft.com/office/drawing/2014/main" id="{A60BE0F4-9563-4BA8-B2BB-47D4C6EE78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3495F8-0ABC-4CF1-BEFE-C0E90233C528}"/>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3940122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descr="A close-up of a keyboard&#10;&#10;Description automatically generated with low confidence">
            <a:extLst>
              <a:ext uri="{FF2B5EF4-FFF2-40B4-BE49-F238E27FC236}">
                <a16:creationId xmlns:a16="http://schemas.microsoft.com/office/drawing/2014/main" id="{9D588B68-7997-3DEF-3953-2D612EF399D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877" y="-1"/>
            <a:ext cx="2397006" cy="6858001"/>
          </a:xfrm>
          <a:prstGeom prst="rect">
            <a:avLst/>
          </a:prstGeom>
        </p:spPr>
      </p:pic>
      <p:sp>
        <p:nvSpPr>
          <p:cNvPr id="8" name="Rectangle 7">
            <a:extLst>
              <a:ext uri="{FF2B5EF4-FFF2-40B4-BE49-F238E27FC236}">
                <a16:creationId xmlns:a16="http://schemas.microsoft.com/office/drawing/2014/main" id="{D7265796-FD9A-D2CE-8F5C-655E766430B8}"/>
              </a:ext>
            </a:extLst>
          </p:cNvPr>
          <p:cNvSpPr/>
          <p:nvPr/>
        </p:nvSpPr>
        <p:spPr>
          <a:xfrm>
            <a:off x="5640946" y="42247"/>
            <a:ext cx="6551054" cy="825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3008092-9AB5-C03D-719C-CB9465976135}"/>
              </a:ext>
            </a:extLst>
          </p:cNvPr>
          <p:cNvSpPr/>
          <p:nvPr/>
        </p:nvSpPr>
        <p:spPr>
          <a:xfrm rot="5400000" flipH="1">
            <a:off x="-161074" y="5375607"/>
            <a:ext cx="1643467" cy="1321319"/>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E76BAC9C-CC20-BB3C-1F10-30418F8365CB}"/>
              </a:ext>
            </a:extLst>
          </p:cNvPr>
          <p:cNvSpPr>
            <a:spLocks noGrp="1"/>
          </p:cNvSpPr>
          <p:nvPr>
            <p:ph type="subTitle" idx="1"/>
          </p:nvPr>
        </p:nvSpPr>
        <p:spPr>
          <a:xfrm>
            <a:off x="3010829" y="4930093"/>
            <a:ext cx="8872654"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25EC92A2-47C5-1804-10EC-926AF4A8412A}"/>
              </a:ext>
            </a:extLst>
          </p:cNvPr>
          <p:cNvSpPr>
            <a:spLocks noGrp="1"/>
          </p:cNvSpPr>
          <p:nvPr>
            <p:ph type="dt" sz="half" idx="10"/>
          </p:nvPr>
        </p:nvSpPr>
        <p:spPr>
          <a:xfrm>
            <a:off x="1652016" y="6356350"/>
            <a:ext cx="2743200" cy="365125"/>
          </a:xfrm>
        </p:spPr>
        <p:txBody>
          <a:bodyPr/>
          <a:lstStyle/>
          <a:p>
            <a:endParaRPr lang="en-US" dirty="0"/>
          </a:p>
        </p:txBody>
      </p:sp>
      <p:sp>
        <p:nvSpPr>
          <p:cNvPr id="5" name="Footer Placeholder 4">
            <a:extLst>
              <a:ext uri="{FF2B5EF4-FFF2-40B4-BE49-F238E27FC236}">
                <a16:creationId xmlns:a16="http://schemas.microsoft.com/office/drawing/2014/main" id="{EA3301CE-A5AE-BE00-EB23-44896D7F55B7}"/>
              </a:ext>
            </a:extLst>
          </p:cNvPr>
          <p:cNvSpPr>
            <a:spLocks noGrp="1"/>
          </p:cNvSpPr>
          <p:nvPr>
            <p:ph type="ftr" sz="quarter" idx="11"/>
          </p:nvPr>
        </p:nvSpPr>
        <p:spPr>
          <a:xfrm>
            <a:off x="4395216" y="6356350"/>
            <a:ext cx="5029200" cy="365125"/>
          </a:xfrm>
        </p:spPr>
        <p:txBody>
          <a:bodyPr/>
          <a:lstStyle>
            <a:lvl1pPr>
              <a:defRPr sz="900"/>
            </a:lvl1pPr>
          </a:lstStyle>
          <a:p>
            <a:r>
              <a:rPr lang="en-US"/>
              <a:t>MMEC Proprietary  </a:t>
            </a:r>
            <a:endParaRPr lang="en-US" dirty="0"/>
          </a:p>
        </p:txBody>
      </p:sp>
      <p:sp>
        <p:nvSpPr>
          <p:cNvPr id="6" name="Slide Number Placeholder 5">
            <a:extLst>
              <a:ext uri="{FF2B5EF4-FFF2-40B4-BE49-F238E27FC236}">
                <a16:creationId xmlns:a16="http://schemas.microsoft.com/office/drawing/2014/main" id="{7977F72F-12AC-12A6-95A2-23AD16908B0B}"/>
              </a:ext>
            </a:extLst>
          </p:cNvPr>
          <p:cNvSpPr>
            <a:spLocks noGrp="1"/>
          </p:cNvSpPr>
          <p:nvPr>
            <p:ph type="sldNum" sz="quarter" idx="12"/>
          </p:nvPr>
        </p:nvSpPr>
        <p:spPr>
          <a:xfrm>
            <a:off x="9424416" y="6356350"/>
            <a:ext cx="2743200" cy="365125"/>
          </a:xfrm>
        </p:spPr>
        <p:txBody>
          <a:bodyPr/>
          <a:lstStyle/>
          <a:p>
            <a:fld id="{47A9008A-481B-4F65-A514-1AA65EA0FD53}" type="slidenum">
              <a:rPr lang="en-US" smtClean="0"/>
              <a:pPr/>
              <a:t>‹#›</a:t>
            </a:fld>
            <a:endParaRPr lang="en-US" dirty="0"/>
          </a:p>
        </p:txBody>
      </p:sp>
      <p:pic>
        <p:nvPicPr>
          <p:cNvPr id="15" name="Picture 14">
            <a:extLst>
              <a:ext uri="{FF2B5EF4-FFF2-40B4-BE49-F238E27FC236}">
                <a16:creationId xmlns:a16="http://schemas.microsoft.com/office/drawing/2014/main" id="{D486AAF7-4D42-0E0F-AE46-734B30E987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2927798" y="0"/>
            <a:ext cx="9252326" cy="594264"/>
          </a:xfrm>
          <a:prstGeom prst="rect">
            <a:avLst/>
          </a:prstGeom>
        </p:spPr>
      </p:pic>
      <p:sp>
        <p:nvSpPr>
          <p:cNvPr id="2" name="Title 1">
            <a:extLst>
              <a:ext uri="{FF2B5EF4-FFF2-40B4-BE49-F238E27FC236}">
                <a16:creationId xmlns:a16="http://schemas.microsoft.com/office/drawing/2014/main" id="{02E911F9-7D8C-D924-1167-1D0C9ECF82F7}"/>
              </a:ext>
            </a:extLst>
          </p:cNvPr>
          <p:cNvSpPr>
            <a:spLocks noGrp="1"/>
          </p:cNvSpPr>
          <p:nvPr>
            <p:ph type="ctrTitle"/>
          </p:nvPr>
        </p:nvSpPr>
        <p:spPr>
          <a:xfrm>
            <a:off x="3010829" y="2450418"/>
            <a:ext cx="8872654" cy="2387600"/>
          </a:xfrm>
        </p:spPr>
        <p:txBody>
          <a:bodyPr anchor="b"/>
          <a:lstStyle>
            <a:lvl1pPr algn="l">
              <a:defRPr sz="6000">
                <a:solidFill>
                  <a:schemeClr val="tx1"/>
                </a:solidFill>
              </a:defRPr>
            </a:lvl1pPr>
          </a:lstStyle>
          <a:p>
            <a:r>
              <a:rPr lang="en-US"/>
              <a:t>Click to edit Master title style</a:t>
            </a:r>
            <a:endParaRPr lang="en-US" dirty="0"/>
          </a:p>
        </p:txBody>
      </p:sp>
      <p:pic>
        <p:nvPicPr>
          <p:cNvPr id="11" name="Picture 10" descr="A picture containing text, outdoor, sign, clipart&#10;&#10;Description automatically generated">
            <a:extLst>
              <a:ext uri="{FF2B5EF4-FFF2-40B4-BE49-F238E27FC236}">
                <a16:creationId xmlns:a16="http://schemas.microsoft.com/office/drawing/2014/main" id="{67B3A3B4-77DC-6F25-D3CE-3020EC43FAF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153953" y="847547"/>
            <a:ext cx="5278846" cy="1466346"/>
          </a:xfrm>
          <a:prstGeom prst="rect">
            <a:avLst/>
          </a:prstGeom>
        </p:spPr>
      </p:pic>
    </p:spTree>
    <p:extLst>
      <p:ext uri="{BB962C8B-B14F-4D97-AF65-F5344CB8AC3E}">
        <p14:creationId xmlns:p14="http://schemas.microsoft.com/office/powerpoint/2010/main" val="735871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9ADAE-BB60-4401-8BFB-AEDC12DF94F7}"/>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66351A1-3EF6-8980-C4D7-5246E6C3A38C}"/>
              </a:ext>
            </a:extLst>
          </p:cNvPr>
          <p:cNvSpPr>
            <a:spLocks noGrp="1"/>
          </p:cNvSpPr>
          <p:nvPr>
            <p:ph idx="1"/>
          </p:nvPr>
        </p:nvSpPr>
        <p:spPr/>
        <p:txBody>
          <a:bodyPr/>
          <a:lstStyle>
            <a:lvl1pPr>
              <a:defRPr>
                <a:solidFill>
                  <a:srgbClr val="0C909D"/>
                </a:solidFill>
                <a:latin typeface="Avenir Book" panose="02000503020000020003" pitchFamily="2" charset="0"/>
              </a:defRPr>
            </a:lvl1pPr>
            <a:lvl2pPr>
              <a:defRPr>
                <a:solidFill>
                  <a:srgbClr val="0C909D"/>
                </a:solidFill>
                <a:latin typeface="Avenir Book" panose="02000503020000020003" pitchFamily="2" charset="0"/>
              </a:defRPr>
            </a:lvl2pPr>
            <a:lvl3pPr>
              <a:defRPr>
                <a:solidFill>
                  <a:srgbClr val="0C909D"/>
                </a:solidFill>
                <a:latin typeface="Avenir Book" panose="02000503020000020003" pitchFamily="2" charset="0"/>
              </a:defRPr>
            </a:lvl3pPr>
            <a:lvl4pPr>
              <a:defRPr>
                <a:solidFill>
                  <a:srgbClr val="0C909D"/>
                </a:solidFill>
                <a:latin typeface="Avenir Book" panose="02000503020000020003" pitchFamily="2" charset="0"/>
              </a:defRPr>
            </a:lvl4pPr>
            <a:lvl5pPr>
              <a:defRPr>
                <a:solidFill>
                  <a:srgbClr val="0C909D"/>
                </a:solidFill>
                <a:latin typeface="Avenir Book"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8CE135D-8983-455B-6984-6957300D077F}"/>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E4FD2C07-4B3E-6B7D-F2DD-10F78D732FC0}"/>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6" name="Slide Number Placeholder 5">
            <a:extLst>
              <a:ext uri="{FF2B5EF4-FFF2-40B4-BE49-F238E27FC236}">
                <a16:creationId xmlns:a16="http://schemas.microsoft.com/office/drawing/2014/main" id="{297552AD-D595-2891-3966-C36A74FFAC00}"/>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7" name="TextBox 6" descr="CONFIDENTIAL_TAG_0xFFEE">
            <a:extLst>
              <a:ext uri="{FF2B5EF4-FFF2-40B4-BE49-F238E27FC236}">
                <a16:creationId xmlns:a16="http://schemas.microsoft.com/office/drawing/2014/main" id="{87D1558A-8E43-27F9-5991-8804435CDF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1613650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DDC99-F51D-2398-C8BD-7250460D23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449BD7-3FA4-E9EC-83D9-2BB52C1BDC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2513D3-64A9-20D6-0820-B7DB1CD41A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F420E1-7EEB-8C7D-0508-9B7E47B15620}"/>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7F8DC0E1-2622-024E-247C-FC2489A9A96D}"/>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7" name="Slide Number Placeholder 6">
            <a:extLst>
              <a:ext uri="{FF2B5EF4-FFF2-40B4-BE49-F238E27FC236}">
                <a16:creationId xmlns:a16="http://schemas.microsoft.com/office/drawing/2014/main" id="{94FC3038-76B0-251B-3B37-ACF0DC328E21}"/>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8" name="TextBox 7" descr="CONFIDENTIAL_TAG_0xFFEE">
            <a:extLst>
              <a:ext uri="{FF2B5EF4-FFF2-40B4-BE49-F238E27FC236}">
                <a16:creationId xmlns:a16="http://schemas.microsoft.com/office/drawing/2014/main" id="{98938E5C-979F-7995-3D51-1CF958EFA9E8}"/>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48987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F2116-F516-3586-27B8-FA3728A280B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B2C8F7-F69C-BFE1-417E-DC2ABB80D0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1F175A0-4351-5E4A-08A6-0626DC90B7A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24DC44-89D1-AB47-1A71-0BA70DC7DA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1660F7-A0F1-A529-9942-4EA119FB88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EA6A521-72EB-4E83-197D-7DC242187966}"/>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20AB5A7F-E6AD-CD85-47A9-3277C52623F4}"/>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9" name="Slide Number Placeholder 8">
            <a:extLst>
              <a:ext uri="{FF2B5EF4-FFF2-40B4-BE49-F238E27FC236}">
                <a16:creationId xmlns:a16="http://schemas.microsoft.com/office/drawing/2014/main" id="{4CFA9561-A46C-8B19-8338-40A81B891AAE}"/>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10" name="TextBox 9" descr="CONFIDENTIAL_TAG_0xFFEE">
            <a:extLst>
              <a:ext uri="{FF2B5EF4-FFF2-40B4-BE49-F238E27FC236}">
                <a16:creationId xmlns:a16="http://schemas.microsoft.com/office/drawing/2014/main" id="{89253E02-47E6-DB9D-275F-AA3DBE7BE8C4}"/>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042088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3A297-87D7-66C0-94A3-81AD288A2E25}"/>
              </a:ext>
            </a:extLst>
          </p:cNvPr>
          <p:cNvSpPr>
            <a:spLocks noGrp="1"/>
          </p:cNvSpPr>
          <p:nvPr>
            <p:ph type="title"/>
          </p:nvPr>
        </p:nvSpPr>
        <p:spPr/>
        <p:txBody>
          <a:bodyPr>
            <a:normAutofit/>
          </a:bodyPr>
          <a:lstStyle>
            <a:lvl1pPr>
              <a:defRPr sz="3600"/>
            </a:lvl1pPr>
          </a:lstStyle>
          <a:p>
            <a:r>
              <a:rPr lang="en-US"/>
              <a:t>Click to edit Master title style</a:t>
            </a:r>
          </a:p>
        </p:txBody>
      </p:sp>
      <p:sp>
        <p:nvSpPr>
          <p:cNvPr id="3" name="Date Placeholder 2">
            <a:extLst>
              <a:ext uri="{FF2B5EF4-FFF2-40B4-BE49-F238E27FC236}">
                <a16:creationId xmlns:a16="http://schemas.microsoft.com/office/drawing/2014/main" id="{32A69F04-9B5D-52DD-FEE0-8C4B1B3C2B2F}"/>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20C17484-BD31-3AC4-0894-C4C3751A013C}"/>
              </a:ext>
            </a:extLst>
          </p:cNvPr>
          <p:cNvSpPr>
            <a:spLocks noGrp="1"/>
          </p:cNvSpPr>
          <p:nvPr>
            <p:ph type="ftr" sz="quarter" idx="11"/>
          </p:nvPr>
        </p:nvSpPr>
        <p:spPr/>
        <p:txBody>
          <a:bodyPr/>
          <a:lstStyle>
            <a:lvl1pPr>
              <a:defRPr sz="900"/>
            </a:lvl1pPr>
          </a:lstStyle>
          <a:p>
            <a:r>
              <a:rPr lang="en-US"/>
              <a:t>MMEC Proprietary  </a:t>
            </a:r>
            <a:endParaRPr lang="en-US" dirty="0"/>
          </a:p>
        </p:txBody>
      </p:sp>
      <p:sp>
        <p:nvSpPr>
          <p:cNvPr id="5" name="Slide Number Placeholder 4">
            <a:extLst>
              <a:ext uri="{FF2B5EF4-FFF2-40B4-BE49-F238E27FC236}">
                <a16:creationId xmlns:a16="http://schemas.microsoft.com/office/drawing/2014/main" id="{1ACB5994-B9BF-107F-62FF-8E99822CD7FC}"/>
              </a:ext>
            </a:extLst>
          </p:cNvPr>
          <p:cNvSpPr>
            <a:spLocks noGrp="1"/>
          </p:cNvSpPr>
          <p:nvPr>
            <p:ph type="sldNum" sz="quarter" idx="12"/>
          </p:nvPr>
        </p:nvSpPr>
        <p:spPr/>
        <p:txBody>
          <a:bodyPr/>
          <a:lstStyle/>
          <a:p>
            <a:fld id="{47A9008A-481B-4F65-A514-1AA65EA0FD53}" type="slidenum">
              <a:rPr lang="en-US" smtClean="0"/>
              <a:pPr/>
              <a:t>‹#›</a:t>
            </a:fld>
            <a:endParaRPr lang="en-US" dirty="0"/>
          </a:p>
        </p:txBody>
      </p:sp>
      <p:sp>
        <p:nvSpPr>
          <p:cNvPr id="6" name="TextBox 5" descr="CONFIDENTIAL_TAG_0xFFEE">
            <a:extLst>
              <a:ext uri="{FF2B5EF4-FFF2-40B4-BE49-F238E27FC236}">
                <a16:creationId xmlns:a16="http://schemas.microsoft.com/office/drawing/2014/main" id="{92383BC1-053B-9324-D9DA-03827ADB6E6A}"/>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289968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Section Header 1">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6344" y="3328417"/>
            <a:ext cx="11256264" cy="1329267"/>
          </a:xfrm>
        </p:spPr>
        <p:txBody>
          <a:bodyPr>
            <a:noAutofit/>
          </a:bodyPr>
          <a:lstStyle>
            <a:lvl1pPr marL="0" indent="0" algn="ctr">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11256264" cy="1165224"/>
          </a:xfrm>
        </p:spPr>
        <p:txBody>
          <a:bodyPr anchor="b" anchorCtr="0"/>
          <a:lstStyle>
            <a:lvl1pPr algn="ctr">
              <a:defRPr b="1"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bg1"/>
                </a:solidFill>
              </a:defRPr>
            </a:lvl1pPr>
          </a:lstStyle>
          <a:p>
            <a:endParaRPr lang="en-US" dirty="0"/>
          </a:p>
        </p:txBody>
      </p:sp>
      <p:sp>
        <p:nvSpPr>
          <p:cNvPr id="12"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bg1"/>
                </a:solidFill>
              </a:defRPr>
            </a:lvl1pPr>
          </a:lstStyle>
          <a:p>
            <a:fld id="{47A9008A-481B-4F65-A514-1AA65EA0FD53}" type="slidenum">
              <a:rPr lang="en-US" smtClean="0"/>
              <a:pPr/>
              <a:t>‹#›</a:t>
            </a:fld>
            <a:endParaRPr lang="en-US" dirty="0"/>
          </a:p>
        </p:txBody>
      </p:sp>
      <p:sp>
        <p:nvSpPr>
          <p:cNvPr id="9" name="Footer Placeholder 4">
            <a:extLst>
              <a:ext uri="{FF2B5EF4-FFF2-40B4-BE49-F238E27FC236}">
                <a16:creationId xmlns:a16="http://schemas.microsoft.com/office/drawing/2014/main" id="{F7C4E471-930D-FB40-B9B0-4203DCF393FC}"/>
              </a:ext>
            </a:extLst>
          </p:cNvPr>
          <p:cNvSpPr>
            <a:spLocks noGrp="1"/>
          </p:cNvSpPr>
          <p:nvPr>
            <p:ph type="ftr" sz="quarter" idx="3"/>
          </p:nvPr>
        </p:nvSpPr>
        <p:spPr>
          <a:xfrm>
            <a:off x="1087036" y="6510528"/>
            <a:ext cx="7035320" cy="210312"/>
          </a:xfrm>
          <a:prstGeom prst="rect">
            <a:avLst/>
          </a:prstGeom>
        </p:spPr>
        <p:txBody>
          <a:bodyPr vert="horz" lIns="91440" tIns="45720" rIns="91440" bIns="45720" rtlCol="0" anchor="ctr"/>
          <a:lstStyle>
            <a:lvl1pPr algn="ctr">
              <a:defRPr sz="700" b="0">
                <a:solidFill>
                  <a:schemeClr val="bg1"/>
                </a:solidFill>
              </a:defRPr>
            </a:lvl1pPr>
          </a:lstStyle>
          <a:p>
            <a:r>
              <a:rPr lang="en-US"/>
              <a:t>MMEC Proprietary  </a:t>
            </a:r>
            <a:endParaRPr lang="en-US" dirty="0"/>
          </a:p>
        </p:txBody>
      </p:sp>
      <p:pic>
        <p:nvPicPr>
          <p:cNvPr id="10" name="Picture 9">
            <a:extLst>
              <a:ext uri="{FF2B5EF4-FFF2-40B4-BE49-F238E27FC236}">
                <a16:creationId xmlns:a16="http://schemas.microsoft.com/office/drawing/2014/main" id="{59BEE2D0-B6CF-A34E-A450-F0B43B20FE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Box 12" descr="CONFIDENTIAL_TAG_0xFFEE">
            <a:extLst>
              <a:ext uri="{FF2B5EF4-FFF2-40B4-BE49-F238E27FC236}">
                <a16:creationId xmlns:a16="http://schemas.microsoft.com/office/drawing/2014/main" id="{7C5BA21D-85AE-034B-819B-02F4A7AC3501}"/>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4584494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DAD5D-D256-258A-D34E-434CBFC824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8418D1-E6A1-100C-C70F-370A38D664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F076F3-63CC-1DD8-7B2C-4A8536B2F57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C902D1F-D800-3A94-1EF3-98E2EBC8325A}"/>
              </a:ext>
            </a:extLst>
          </p:cNvPr>
          <p:cNvSpPr>
            <a:spLocks noGrp="1"/>
          </p:cNvSpPr>
          <p:nvPr>
            <p:ph type="ftr" sz="quarter" idx="11"/>
          </p:nvPr>
        </p:nvSpPr>
        <p:spPr/>
        <p:txBody>
          <a:bodyPr/>
          <a:lstStyle/>
          <a:p>
            <a:r>
              <a:rPr lang="en-US"/>
              <a:t>MMEC Proprietary  </a:t>
            </a:r>
            <a:endParaRPr lang="en-US" dirty="0"/>
          </a:p>
        </p:txBody>
      </p:sp>
      <p:sp>
        <p:nvSpPr>
          <p:cNvPr id="6" name="Slide Number Placeholder 5">
            <a:extLst>
              <a:ext uri="{FF2B5EF4-FFF2-40B4-BE49-F238E27FC236}">
                <a16:creationId xmlns:a16="http://schemas.microsoft.com/office/drawing/2014/main" id="{AABDCB2A-4D67-9A71-40E5-E962DFCE1E08}"/>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7641777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4F044-5646-7B73-7ECB-39CA9F3636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F768CF-F12A-5F45-1F03-CB723D964BF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8BB6654-2819-0056-430C-47CC3F0A3DC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FE740B-2F99-9C3F-3A43-ECFBB648C0D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98F8CFE-3EDC-DE51-18EB-FD1BC5605EC6}"/>
              </a:ext>
            </a:extLst>
          </p:cNvPr>
          <p:cNvSpPr>
            <a:spLocks noGrp="1"/>
          </p:cNvSpPr>
          <p:nvPr>
            <p:ph type="ftr" sz="quarter" idx="11"/>
          </p:nvPr>
        </p:nvSpPr>
        <p:spPr/>
        <p:txBody>
          <a:bodyPr/>
          <a:lstStyle/>
          <a:p>
            <a:r>
              <a:rPr lang="en-US"/>
              <a:t>MMEC Proprietary  </a:t>
            </a:r>
            <a:endParaRPr lang="en-US" dirty="0"/>
          </a:p>
        </p:txBody>
      </p:sp>
      <p:sp>
        <p:nvSpPr>
          <p:cNvPr id="7" name="Slide Number Placeholder 6">
            <a:extLst>
              <a:ext uri="{FF2B5EF4-FFF2-40B4-BE49-F238E27FC236}">
                <a16:creationId xmlns:a16="http://schemas.microsoft.com/office/drawing/2014/main" id="{551C2A69-57D7-F316-561B-1F1F8AD2303F}"/>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5715001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732-E3D4-494A-869F-5E48C462E5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40D27E-E3CE-4847-9C95-700FF5B584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5E2346-9496-4512-A53E-F2D3B5C11BB7}"/>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5" name="Footer Placeholder 4">
            <a:extLst>
              <a:ext uri="{FF2B5EF4-FFF2-40B4-BE49-F238E27FC236}">
                <a16:creationId xmlns:a16="http://schemas.microsoft.com/office/drawing/2014/main" id="{F9ED71EE-52A5-4305-A9A6-FF32B91F70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6154BA-7018-4178-8835-402F7DF6B02A}"/>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5939206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F5F4D-B73C-C8FB-8A73-6E6541CA816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D984549-0712-A4B6-E122-43715F2444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742FEB8-E8B1-CCC7-018C-9AFF8A8D1B3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3884A24-06E1-436B-C8C1-86B7837094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749B60-C09D-36BB-CB43-0414AD49636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5392237-559E-EA24-159A-80D5ADC8A19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3D4EC9D-79B6-999F-6905-2E29E7128898}"/>
              </a:ext>
            </a:extLst>
          </p:cNvPr>
          <p:cNvSpPr>
            <a:spLocks noGrp="1"/>
          </p:cNvSpPr>
          <p:nvPr>
            <p:ph type="ftr" sz="quarter" idx="11"/>
          </p:nvPr>
        </p:nvSpPr>
        <p:spPr/>
        <p:txBody>
          <a:bodyPr/>
          <a:lstStyle/>
          <a:p>
            <a:r>
              <a:rPr lang="en-US"/>
              <a:t>MMEC Proprietary  </a:t>
            </a:r>
            <a:endParaRPr lang="en-US" dirty="0"/>
          </a:p>
        </p:txBody>
      </p:sp>
      <p:sp>
        <p:nvSpPr>
          <p:cNvPr id="9" name="Slide Number Placeholder 8">
            <a:extLst>
              <a:ext uri="{FF2B5EF4-FFF2-40B4-BE49-F238E27FC236}">
                <a16:creationId xmlns:a16="http://schemas.microsoft.com/office/drawing/2014/main" id="{C69D636F-30BC-FA75-A429-806A6B4FF8C5}"/>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17910101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541B9-8044-E88E-84B3-9768A9005B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AA58A7-ECC6-BB15-0C3E-9E9F8BBBA07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85D792C6-68E4-22F3-BB32-3B77A79196B5}"/>
              </a:ext>
            </a:extLst>
          </p:cNvPr>
          <p:cNvSpPr>
            <a:spLocks noGrp="1"/>
          </p:cNvSpPr>
          <p:nvPr>
            <p:ph type="ftr" sz="quarter" idx="11"/>
          </p:nvPr>
        </p:nvSpPr>
        <p:spPr/>
        <p:txBody>
          <a:bodyPr/>
          <a:lstStyle/>
          <a:p>
            <a:r>
              <a:rPr lang="en-US"/>
              <a:t>MMEC Proprietary  </a:t>
            </a:r>
            <a:endParaRPr lang="en-US" dirty="0"/>
          </a:p>
        </p:txBody>
      </p:sp>
      <p:sp>
        <p:nvSpPr>
          <p:cNvPr id="5" name="Slide Number Placeholder 4">
            <a:extLst>
              <a:ext uri="{FF2B5EF4-FFF2-40B4-BE49-F238E27FC236}">
                <a16:creationId xmlns:a16="http://schemas.microsoft.com/office/drawing/2014/main" id="{E20D708E-E42D-ED1D-0E22-15854E28D3F4}"/>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14876738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_slide_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CA1059-9AC6-3342-BCC8-A7832BEE2F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566" b="6326"/>
          <a:stretch/>
        </p:blipFill>
        <p:spPr>
          <a:xfrm>
            <a:off x="-14990" y="0"/>
            <a:ext cx="12257738" cy="6949440"/>
          </a:xfrm>
          <a:prstGeom prst="rect">
            <a:avLst/>
          </a:prstGeom>
        </p:spPr>
      </p:pic>
      <p:sp>
        <p:nvSpPr>
          <p:cNvPr id="15" name="Rectangle 14">
            <a:extLst>
              <a:ext uri="{FF2B5EF4-FFF2-40B4-BE49-F238E27FC236}">
                <a16:creationId xmlns:a16="http://schemas.microsoft.com/office/drawing/2014/main" id="{D3079D97-F29D-514C-A224-063510F05005}"/>
              </a:ext>
            </a:extLst>
          </p:cNvPr>
          <p:cNvSpPr/>
          <p:nvPr userDrawn="1"/>
        </p:nvSpPr>
        <p:spPr>
          <a:xfrm>
            <a:off x="0" y="0"/>
            <a:ext cx="12191999" cy="6949440"/>
          </a:xfrm>
          <a:prstGeom prst="rect">
            <a:avLst/>
          </a:prstGeom>
          <a:gradFill>
            <a:gsLst>
              <a:gs pos="0">
                <a:srgbClr val="000000">
                  <a:alpha val="0"/>
                </a:srgbClr>
              </a:gs>
              <a:gs pos="100000">
                <a:schemeClr val="accent6">
                  <a:lumMod val="0"/>
                  <a:alpha val="50000"/>
                </a:schemeClr>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B98420C4-21F9-7C40-8EE8-A95390E5A466}"/>
              </a:ext>
            </a:extLst>
          </p:cNvPr>
          <p:cNvCxnSpPr/>
          <p:nvPr userDrawn="1"/>
        </p:nvCxnSpPr>
        <p:spPr>
          <a:xfrm>
            <a:off x="5649464" y="2828034"/>
            <a:ext cx="893073"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6B27733-E082-EC4E-898E-EE4C5AFAC7A1}"/>
              </a:ext>
            </a:extLst>
          </p:cNvPr>
          <p:cNvSpPr/>
          <p:nvPr userDrawn="1"/>
        </p:nvSpPr>
        <p:spPr>
          <a:xfrm>
            <a:off x="1" y="5005142"/>
            <a:ext cx="12191998" cy="1304332"/>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D0F8B91-5A66-DC4E-A79A-A099CF9BC7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57641" y="5217106"/>
            <a:ext cx="2876718" cy="914400"/>
          </a:xfrm>
          <a:prstGeom prst="rect">
            <a:avLst/>
          </a:prstGeom>
        </p:spPr>
      </p:pic>
    </p:spTree>
    <p:extLst>
      <p:ext uri="{BB962C8B-B14F-4D97-AF65-F5344CB8AC3E}">
        <p14:creationId xmlns:p14="http://schemas.microsoft.com/office/powerpoint/2010/main" val="36032646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Header_slide_2">
    <p:bg>
      <p:bgPr>
        <a:solidFill>
          <a:srgbClr val="25476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7299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66D232-8E98-054D-9728-BFF582E91681}"/>
              </a:ext>
            </a:extLst>
          </p:cNvPr>
          <p:cNvPicPr>
            <a:picLocks noChangeAspect="1"/>
          </p:cNvPicPr>
          <p:nvPr userDrawn="1"/>
        </p:nvPicPr>
        <p:blipFill>
          <a:blip r:embed="rId2"/>
          <a:stretch>
            <a:fillRect/>
          </a:stretch>
        </p:blipFill>
        <p:spPr>
          <a:xfrm>
            <a:off x="0" y="0"/>
            <a:ext cx="3588300" cy="6858000"/>
          </a:xfrm>
          <a:prstGeom prst="rect">
            <a:avLst/>
          </a:prstGeom>
        </p:spPr>
      </p:pic>
    </p:spTree>
    <p:extLst>
      <p:ext uri="{BB962C8B-B14F-4D97-AF65-F5344CB8AC3E}">
        <p14:creationId xmlns:p14="http://schemas.microsoft.com/office/powerpoint/2010/main" val="3993412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_slide_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B7FB824-A5DF-BA4A-AC9A-D8EE516388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Rectangle 18">
            <a:extLst>
              <a:ext uri="{FF2B5EF4-FFF2-40B4-BE49-F238E27FC236}">
                <a16:creationId xmlns:a16="http://schemas.microsoft.com/office/drawing/2014/main" id="{6186F4A3-AD95-6444-8AEC-488F39277424}"/>
              </a:ext>
            </a:extLst>
          </p:cNvPr>
          <p:cNvSpPr/>
          <p:nvPr userDrawn="1"/>
        </p:nvSpPr>
        <p:spPr>
          <a:xfrm>
            <a:off x="0" y="3785936"/>
            <a:ext cx="12192000" cy="224589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47B8DD-5370-BF41-AF51-87ADE9AC8996}"/>
              </a:ext>
            </a:extLst>
          </p:cNvPr>
          <p:cNvSpPr/>
          <p:nvPr userDrawn="1"/>
        </p:nvSpPr>
        <p:spPr>
          <a:xfrm>
            <a:off x="7732438" y="5619751"/>
            <a:ext cx="3419475" cy="1238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3816" y="5781675"/>
            <a:ext cx="2876718" cy="914400"/>
          </a:xfrm>
          <a:prstGeom prst="rect">
            <a:avLst/>
          </a:prstGeom>
        </p:spPr>
      </p:pic>
    </p:spTree>
    <p:extLst>
      <p:ext uri="{BB962C8B-B14F-4D97-AF65-F5344CB8AC3E}">
        <p14:creationId xmlns:p14="http://schemas.microsoft.com/office/powerpoint/2010/main" val="7183901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2"/>
          <a:stretch>
            <a:fillRect/>
          </a:stretch>
        </p:blipFill>
        <p:spPr>
          <a:xfrm>
            <a:off x="-86020" y="-24063"/>
            <a:ext cx="3588300" cy="6906126"/>
          </a:xfrm>
          <a:prstGeom prst="rect">
            <a:avLst/>
          </a:prstGeom>
        </p:spPr>
      </p:pic>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3816" y="5781675"/>
            <a:ext cx="2876718" cy="914400"/>
          </a:xfrm>
          <a:prstGeom prst="rect">
            <a:avLst/>
          </a:prstGeom>
        </p:spPr>
      </p:pic>
    </p:spTree>
    <p:extLst>
      <p:ext uri="{BB962C8B-B14F-4D97-AF65-F5344CB8AC3E}">
        <p14:creationId xmlns:p14="http://schemas.microsoft.com/office/powerpoint/2010/main" val="32377050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3"/>
          <a:stretch>
            <a:fillRect/>
          </a:stretch>
        </p:blipFill>
        <p:spPr>
          <a:xfrm>
            <a:off x="-86020" y="-24063"/>
            <a:ext cx="3588300" cy="6906126"/>
          </a:xfrm>
          <a:prstGeom prst="rect">
            <a:avLst/>
          </a:prstGeom>
        </p:spPr>
      </p:pic>
    </p:spTree>
    <p:custDataLst>
      <p:tags r:id="rId1"/>
    </p:custDataLst>
    <p:extLst>
      <p:ext uri="{BB962C8B-B14F-4D97-AF65-F5344CB8AC3E}">
        <p14:creationId xmlns:p14="http://schemas.microsoft.com/office/powerpoint/2010/main" val="21950582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Content_slide_1">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983DD9BF-702D-438C-82A0-C7A7D8B5C3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10088880" y="0"/>
            <a:ext cx="2103120" cy="6858000"/>
          </a:xfrm>
          <a:prstGeom prst="rect">
            <a:avLst/>
          </a:prstGeom>
          <a:solidFill>
            <a:srgbClr val="254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11">
            <a:extLst>
              <a:ext uri="{FF2B5EF4-FFF2-40B4-BE49-F238E27FC236}">
                <a16:creationId xmlns:a16="http://schemas.microsoft.com/office/drawing/2014/main" id="{E8F49998-0346-4937-8264-FC53768C5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04B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2" descr="OACC (@TheOACC) / Twitter">
            <a:extLst>
              <a:ext uri="{FF2B5EF4-FFF2-40B4-BE49-F238E27FC236}">
                <a16:creationId xmlns:a16="http://schemas.microsoft.com/office/drawing/2014/main" id="{66019905-DC7D-4102-8D44-5928A135C634}"/>
              </a:ext>
            </a:extLst>
          </p:cNvPr>
          <p:cNvPicPr>
            <a:picLocks noChangeAspect="1" noChangeArrowheads="1"/>
          </p:cNvPicPr>
          <p:nvPr userDrawn="1"/>
        </p:nvPicPr>
        <p:blipFill rotWithShape="1">
          <a:blip r:embed="rId2">
            <a:alphaModFix/>
            <a:extLst>
              <a:ext uri="{28A0092B-C50C-407E-A947-70E740481C1C}">
                <a14:useLocalDpi xmlns:a14="http://schemas.microsoft.com/office/drawing/2010/main" val="0"/>
              </a:ext>
            </a:extLst>
          </a:blip>
          <a:srcRect r="-8" b="153"/>
          <a:stretch/>
        </p:blipFill>
        <p:spPr bwMode="auto">
          <a:xfrm>
            <a:off x="9030743" y="2474254"/>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noFill/>
          <a:effectLst>
            <a:softEdge rad="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721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Content_slide_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047B8DD-5370-BF41-AF51-87ADE9AC8996}"/>
              </a:ext>
            </a:extLst>
          </p:cNvPr>
          <p:cNvSpPr/>
          <p:nvPr userDrawn="1"/>
        </p:nvSpPr>
        <p:spPr>
          <a:xfrm>
            <a:off x="4386262" y="5619751"/>
            <a:ext cx="3419475" cy="1238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7640" y="5781675"/>
            <a:ext cx="2876718" cy="914400"/>
          </a:xfrm>
          <a:prstGeom prst="rect">
            <a:avLst/>
          </a:prstGeom>
        </p:spPr>
      </p:pic>
    </p:spTree>
    <p:extLst>
      <p:ext uri="{BB962C8B-B14F-4D97-AF65-F5344CB8AC3E}">
        <p14:creationId xmlns:p14="http://schemas.microsoft.com/office/powerpoint/2010/main" val="1639950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73854-9914-4DF5-B0A5-42CFEB0FD5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1FECE3-F5A0-408D-B3BB-E407311D4B6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87629BD-3DE3-43C6-AF0D-1A8453CFE609}"/>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5" name="Footer Placeholder 4">
            <a:extLst>
              <a:ext uri="{FF2B5EF4-FFF2-40B4-BE49-F238E27FC236}">
                <a16:creationId xmlns:a16="http://schemas.microsoft.com/office/drawing/2014/main" id="{EDCDF310-D640-4C70-8B6C-0E9D1F63EB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202DFC-B9DD-4511-99A1-AEC637F65AF8}"/>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0050718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2"/>
          <a:stretch>
            <a:fillRect/>
          </a:stretch>
        </p:blipFill>
        <p:spPr>
          <a:xfrm>
            <a:off x="-86020" y="-24063"/>
            <a:ext cx="3588300" cy="6906126"/>
          </a:xfrm>
          <a:prstGeom prst="rect">
            <a:avLst/>
          </a:prstGeom>
        </p:spPr>
      </p:pic>
    </p:spTree>
    <p:extLst>
      <p:ext uri="{BB962C8B-B14F-4D97-AF65-F5344CB8AC3E}">
        <p14:creationId xmlns:p14="http://schemas.microsoft.com/office/powerpoint/2010/main" val="30435054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_slide_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9666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_you_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4177A47-6DDD-854F-A364-1A0FF5466670}"/>
              </a:ext>
            </a:extLst>
          </p:cNvPr>
          <p:cNvSpPr/>
          <p:nvPr userDrawn="1"/>
        </p:nvSpPr>
        <p:spPr>
          <a:xfrm>
            <a:off x="0" y="5259946"/>
            <a:ext cx="12192000" cy="15980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25E1C57-2774-E046-A8C6-4D453DDEB4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22372" y="5590561"/>
            <a:ext cx="2947256" cy="936822"/>
          </a:xfrm>
          <a:prstGeom prst="rect">
            <a:avLst/>
          </a:prstGeom>
        </p:spPr>
      </p:pic>
    </p:spTree>
    <p:extLst>
      <p:ext uri="{BB962C8B-B14F-4D97-AF65-F5344CB8AC3E}">
        <p14:creationId xmlns:p14="http://schemas.microsoft.com/office/powerpoint/2010/main" val="32842892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549835" y="6310313"/>
            <a:ext cx="2844800" cy="365125"/>
          </a:xfrm>
          <a:prstGeom prst="rect">
            <a:avLst/>
          </a:prstGeom>
        </p:spPr>
        <p:txBody>
          <a:bodyPr/>
          <a:lstStyle>
            <a:lvl1pPr>
              <a:defRPr sz="1200">
                <a:solidFill>
                  <a:schemeClr val="bg1"/>
                </a:solidFill>
                <a:latin typeface="Gill Sans MT" panose="020B0502020104020203" pitchFamily="34" charset="0"/>
              </a:defRPr>
            </a:lvl1pPr>
          </a:lstStyle>
          <a:p>
            <a:fld id="{695255DA-0DDD-4B79-9186-39FCD83CF054}"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2236500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3D3D3D"/>
                </a:solidFill>
                <a:latin typeface="Helvetica"/>
                <a:cs typeface="Helvetica"/>
              </a:defRPr>
            </a:lvl1pPr>
          </a:lstStyle>
          <a:p>
            <a:endParaRPr/>
          </a:p>
        </p:txBody>
      </p:sp>
      <p:sp>
        <p:nvSpPr>
          <p:cNvPr id="3" name="Holder 3"/>
          <p:cNvSpPr>
            <a:spLocks noGrp="1"/>
          </p:cNvSpPr>
          <p:nvPr>
            <p:ph type="body" idx="1"/>
          </p:nvPr>
        </p:nvSpPr>
        <p:spPr/>
        <p:txBody>
          <a:bodyPr lIns="0" tIns="0" rIns="0" bIns="0"/>
          <a:lstStyle>
            <a:lvl1pPr>
              <a:defRPr sz="1800" b="0" i="0">
                <a:solidFill>
                  <a:schemeClr val="tx1"/>
                </a:solidFill>
                <a:latin typeface="Helvetica"/>
                <a:cs typeface="Helvetic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460153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With Background Picture">
    <p:spTree>
      <p:nvGrpSpPr>
        <p:cNvPr id="1" name=""/>
        <p:cNvGrpSpPr/>
        <p:nvPr/>
      </p:nvGrpSpPr>
      <p:grpSpPr>
        <a:xfrm>
          <a:off x="0" y="0"/>
          <a:ext cx="0" cy="0"/>
          <a:chOff x="0" y="0"/>
          <a:chExt cx="0" cy="0"/>
        </a:xfrm>
      </p:grpSpPr>
      <p:pic>
        <p:nvPicPr>
          <p:cNvPr id="7" name="Picture Placeholder 5" descr="Seal on the Oval. Used as a background picture.">
            <a:extLst>
              <a:ext uri="{FF2B5EF4-FFF2-40B4-BE49-F238E27FC236}">
                <a16:creationId xmlns:a16="http://schemas.microsoft.com/office/drawing/2014/main" id="{C4E00CA3-028B-4946-BBB4-5C31154E32A4}"/>
              </a:ext>
            </a:extLst>
          </p:cNvPr>
          <p:cNvPicPr>
            <a:picLocks noChangeAspect="1"/>
          </p:cNvPicPr>
          <p:nvPr userDrawn="1"/>
        </p:nvPicPr>
        <p:blipFill rotWithShape="1">
          <a:blip r:embed="rId2"/>
          <a:srcRect t="11942" b="11942"/>
          <a:stretch/>
        </p:blipFill>
        <p:spPr>
          <a:xfrm>
            <a:off x="400279" y="374573"/>
            <a:ext cx="11391441" cy="5772839"/>
          </a:xfrm>
          <a:prstGeom prst="rect">
            <a:avLst/>
          </a:prstGeom>
        </p:spPr>
      </p:pic>
      <p:sp>
        <p:nvSpPr>
          <p:cNvPr id="2" name="Title 1">
            <a:extLst>
              <a:ext uri="{FF2B5EF4-FFF2-40B4-BE49-F238E27FC236}">
                <a16:creationId xmlns:a16="http://schemas.microsoft.com/office/drawing/2014/main" id="{7E9F839D-17A6-464E-BE22-E9B747DF33B1}"/>
              </a:ext>
            </a:extLst>
          </p:cNvPr>
          <p:cNvSpPr>
            <a:spLocks noGrp="1"/>
          </p:cNvSpPr>
          <p:nvPr>
            <p:ph type="ctrTitle" hasCustomPrompt="1"/>
          </p:nvPr>
        </p:nvSpPr>
        <p:spPr>
          <a:xfrm>
            <a:off x="400279" y="1912072"/>
            <a:ext cx="11390045" cy="2387600"/>
          </a:xfrm>
          <a:solidFill>
            <a:srgbClr val="FFFFFF">
              <a:alpha val="69804"/>
            </a:srgbClr>
          </a:solidFill>
        </p:spPr>
        <p:txBody>
          <a:bodyPr lIns="365760" anchor="ctr">
            <a:normAutofit/>
          </a:bodyPr>
          <a:lstStyle>
            <a:lvl1pPr algn="l">
              <a:defRPr sz="4800">
                <a:latin typeface="Buckeye Serif 2 Black" pitchFamily="2" charset="0"/>
                <a:ea typeface="Buckeye Serif 2 Black" pitchFamily="2" charset="0"/>
              </a:defRPr>
            </a:lvl1pPr>
          </a:lstStyle>
          <a:p>
            <a:r>
              <a:rPr lang="en-US" dirty="0"/>
              <a:t>Add your presentation title</a:t>
            </a:r>
          </a:p>
        </p:txBody>
      </p:sp>
    </p:spTree>
    <p:extLst>
      <p:ext uri="{BB962C8B-B14F-4D97-AF65-F5344CB8AC3E}">
        <p14:creationId xmlns:p14="http://schemas.microsoft.com/office/powerpoint/2010/main" val="36680792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 Light Gray Background">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221065E6-A38E-4F0C-8A91-83E3ADB9FE2D}"/>
              </a:ext>
            </a:extLst>
          </p:cNvPr>
          <p:cNvSpPr/>
          <p:nvPr/>
        </p:nvSpPr>
        <p:spPr>
          <a:xfrm>
            <a:off x="400280" y="374573"/>
            <a:ext cx="11391441" cy="5772839"/>
          </a:xfrm>
          <a:custGeom>
            <a:avLst/>
            <a:gdLst>
              <a:gd name="connsiteX0" fmla="*/ 0 w 11391441"/>
              <a:gd name="connsiteY0" fmla="*/ 11017 h 5772839"/>
              <a:gd name="connsiteX1" fmla="*/ 0 w 11391441"/>
              <a:gd name="connsiteY1" fmla="*/ 5772839 h 5772839"/>
              <a:gd name="connsiteX2" fmla="*/ 10796530 w 11391441"/>
              <a:gd name="connsiteY2" fmla="*/ 5772839 h 5772839"/>
              <a:gd name="connsiteX3" fmla="*/ 11391441 w 11391441"/>
              <a:gd name="connsiteY3" fmla="*/ 5177928 h 5772839"/>
              <a:gd name="connsiteX4" fmla="*/ 11391441 w 11391441"/>
              <a:gd name="connsiteY4" fmla="*/ 0 h 5772839"/>
              <a:gd name="connsiteX5" fmla="*/ 0 w 11391441"/>
              <a:gd name="connsiteY5" fmla="*/ 11017 h 5772839"/>
              <a:gd name="connsiteX0" fmla="*/ 0 w 11391441"/>
              <a:gd name="connsiteY0" fmla="*/ 11017 h 5772839"/>
              <a:gd name="connsiteX1" fmla="*/ 0 w 11391441"/>
              <a:gd name="connsiteY1" fmla="*/ 5772839 h 5772839"/>
              <a:gd name="connsiteX2" fmla="*/ 11388200 w 11391441"/>
              <a:gd name="connsiteY2" fmla="*/ 5768357 h 5772839"/>
              <a:gd name="connsiteX3" fmla="*/ 11391441 w 11391441"/>
              <a:gd name="connsiteY3" fmla="*/ 5177928 h 5772839"/>
              <a:gd name="connsiteX4" fmla="*/ 11391441 w 11391441"/>
              <a:gd name="connsiteY4" fmla="*/ 0 h 5772839"/>
              <a:gd name="connsiteX5" fmla="*/ 0 w 11391441"/>
              <a:gd name="connsiteY5" fmla="*/ 11017 h 577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91441" h="5772839">
                <a:moveTo>
                  <a:pt x="0" y="11017"/>
                </a:moveTo>
                <a:lnTo>
                  <a:pt x="0" y="5772839"/>
                </a:lnTo>
                <a:lnTo>
                  <a:pt x="11388200" y="5768357"/>
                </a:lnTo>
                <a:cubicBezTo>
                  <a:pt x="11389280" y="5571547"/>
                  <a:pt x="11390361" y="5374738"/>
                  <a:pt x="11391441" y="5177928"/>
                </a:cubicBezTo>
                <a:lnTo>
                  <a:pt x="11391441" y="0"/>
                </a:lnTo>
                <a:lnTo>
                  <a:pt x="0" y="1101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Buckeye Sans 2" pitchFamily="2" charset="0"/>
            </a:endParaRPr>
          </a:p>
        </p:txBody>
      </p:sp>
      <p:sp>
        <p:nvSpPr>
          <p:cNvPr id="6" name="Title 1">
            <a:extLst>
              <a:ext uri="{FF2B5EF4-FFF2-40B4-BE49-F238E27FC236}">
                <a16:creationId xmlns:a16="http://schemas.microsoft.com/office/drawing/2014/main" id="{817935CB-576A-4D4C-B092-BB84510CD043}"/>
              </a:ext>
            </a:extLst>
          </p:cNvPr>
          <p:cNvSpPr>
            <a:spLocks noGrp="1"/>
          </p:cNvSpPr>
          <p:nvPr>
            <p:ph type="title" hasCustomPrompt="1"/>
          </p:nvPr>
        </p:nvSpPr>
        <p:spPr>
          <a:xfrm>
            <a:off x="831850" y="2797768"/>
            <a:ext cx="10515600" cy="602724"/>
          </a:xfrm>
        </p:spPr>
        <p:txBody>
          <a:bodyPr anchor="t">
            <a:noAutofit/>
          </a:bodyPr>
          <a:lstStyle>
            <a:lvl1pPr>
              <a:defRPr sz="4000">
                <a:latin typeface="Buckeye Serif 2 Black" pitchFamily="2" charset="0"/>
                <a:ea typeface="Buckeye Serif 2 Black" pitchFamily="2" charset="0"/>
              </a:defRPr>
            </a:lvl1pPr>
          </a:lstStyle>
          <a:p>
            <a:r>
              <a:rPr lang="en-US" dirty="0"/>
              <a:t>Add your presentation title</a:t>
            </a:r>
          </a:p>
        </p:txBody>
      </p:sp>
      <p:sp>
        <p:nvSpPr>
          <p:cNvPr id="11" name="Text Placeholder 2">
            <a:extLst>
              <a:ext uri="{FF2B5EF4-FFF2-40B4-BE49-F238E27FC236}">
                <a16:creationId xmlns:a16="http://schemas.microsoft.com/office/drawing/2014/main" id="{8D196AAD-DB61-4A5A-92DC-7F231436880B}"/>
              </a:ext>
            </a:extLst>
          </p:cNvPr>
          <p:cNvSpPr>
            <a:spLocks noGrp="1"/>
          </p:cNvSpPr>
          <p:nvPr>
            <p:ph type="body" idx="1" hasCustomPrompt="1"/>
          </p:nvPr>
        </p:nvSpPr>
        <p:spPr>
          <a:xfrm>
            <a:off x="831850" y="3457508"/>
            <a:ext cx="10515600" cy="496976"/>
          </a:xfrm>
        </p:spPr>
        <p:txBody>
          <a:bodyPr>
            <a:normAutofit/>
          </a:bodyPr>
          <a:lstStyle>
            <a:lvl1pPr marL="0" indent="0">
              <a:buNone/>
              <a:defRPr sz="2400" b="1" i="0">
                <a:solidFill>
                  <a:schemeClr val="tx1"/>
                </a:solidFill>
                <a:latin typeface="Buckeye Sans 2"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your subhead</a:t>
            </a:r>
          </a:p>
        </p:txBody>
      </p:sp>
    </p:spTree>
    <p:extLst>
      <p:ext uri="{BB962C8B-B14F-4D97-AF65-F5344CB8AC3E}">
        <p14:creationId xmlns:p14="http://schemas.microsoft.com/office/powerpoint/2010/main" val="3787688748"/>
      </p:ext>
    </p:extLst>
  </p:cSld>
  <p:clrMapOvr>
    <a:masterClrMapping/>
  </p:clrMapOvr>
  <p:extLst>
    <p:ext uri="{DCECCB84-F9BA-43D5-87BE-67443E8EF086}">
      <p15:sldGuideLst xmlns:p15="http://schemas.microsoft.com/office/powerpoint/2012/main">
        <p15:guide id="1" orient="horz" pos="3864">
          <p15:clr>
            <a:srgbClr val="FBAE40"/>
          </p15:clr>
        </p15:guide>
        <p15:guide id="2" orient="horz" pos="240">
          <p15:clr>
            <a:srgbClr val="FBAE40"/>
          </p15:clr>
        </p15:guide>
        <p15:guide id="3" pos="26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Closing - Light Gray Background">
    <p:spTree>
      <p:nvGrpSpPr>
        <p:cNvPr id="1" name=""/>
        <p:cNvGrpSpPr/>
        <p:nvPr/>
      </p:nvGrpSpPr>
      <p:grpSpPr>
        <a:xfrm>
          <a:off x="0" y="0"/>
          <a:ext cx="0" cy="0"/>
          <a:chOff x="0" y="0"/>
          <a:chExt cx="0" cy="0"/>
        </a:xfrm>
      </p:grpSpPr>
      <p:sp>
        <p:nvSpPr>
          <p:cNvPr id="3" name="Freeform 6">
            <a:extLst>
              <a:ext uri="{FF2B5EF4-FFF2-40B4-BE49-F238E27FC236}">
                <a16:creationId xmlns:a16="http://schemas.microsoft.com/office/drawing/2014/main" id="{82AE02A0-891E-6012-3F9B-807C13FC9FF0}"/>
              </a:ext>
            </a:extLst>
          </p:cNvPr>
          <p:cNvSpPr/>
          <p:nvPr userDrawn="1"/>
        </p:nvSpPr>
        <p:spPr>
          <a:xfrm>
            <a:off x="400280" y="374573"/>
            <a:ext cx="11391441" cy="5772839"/>
          </a:xfrm>
          <a:custGeom>
            <a:avLst/>
            <a:gdLst>
              <a:gd name="connsiteX0" fmla="*/ 0 w 11391441"/>
              <a:gd name="connsiteY0" fmla="*/ 11017 h 5772839"/>
              <a:gd name="connsiteX1" fmla="*/ 0 w 11391441"/>
              <a:gd name="connsiteY1" fmla="*/ 5772839 h 5772839"/>
              <a:gd name="connsiteX2" fmla="*/ 10796530 w 11391441"/>
              <a:gd name="connsiteY2" fmla="*/ 5772839 h 5772839"/>
              <a:gd name="connsiteX3" fmla="*/ 11391441 w 11391441"/>
              <a:gd name="connsiteY3" fmla="*/ 5177928 h 5772839"/>
              <a:gd name="connsiteX4" fmla="*/ 11391441 w 11391441"/>
              <a:gd name="connsiteY4" fmla="*/ 0 h 5772839"/>
              <a:gd name="connsiteX5" fmla="*/ 0 w 11391441"/>
              <a:gd name="connsiteY5" fmla="*/ 11017 h 5772839"/>
              <a:gd name="connsiteX0" fmla="*/ 0 w 11391441"/>
              <a:gd name="connsiteY0" fmla="*/ 11017 h 5772839"/>
              <a:gd name="connsiteX1" fmla="*/ 0 w 11391441"/>
              <a:gd name="connsiteY1" fmla="*/ 5772839 h 5772839"/>
              <a:gd name="connsiteX2" fmla="*/ 11388200 w 11391441"/>
              <a:gd name="connsiteY2" fmla="*/ 5768357 h 5772839"/>
              <a:gd name="connsiteX3" fmla="*/ 11391441 w 11391441"/>
              <a:gd name="connsiteY3" fmla="*/ 5177928 h 5772839"/>
              <a:gd name="connsiteX4" fmla="*/ 11391441 w 11391441"/>
              <a:gd name="connsiteY4" fmla="*/ 0 h 5772839"/>
              <a:gd name="connsiteX5" fmla="*/ 0 w 11391441"/>
              <a:gd name="connsiteY5" fmla="*/ 11017 h 577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91441" h="5772839">
                <a:moveTo>
                  <a:pt x="0" y="11017"/>
                </a:moveTo>
                <a:lnTo>
                  <a:pt x="0" y="5772839"/>
                </a:lnTo>
                <a:lnTo>
                  <a:pt x="11388200" y="5768357"/>
                </a:lnTo>
                <a:cubicBezTo>
                  <a:pt x="11389280" y="5571547"/>
                  <a:pt x="11390361" y="5374738"/>
                  <a:pt x="11391441" y="5177928"/>
                </a:cubicBezTo>
                <a:lnTo>
                  <a:pt x="11391441" y="0"/>
                </a:lnTo>
                <a:lnTo>
                  <a:pt x="0" y="1101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Buckeye Sans 2" pitchFamily="2" charset="0"/>
            </a:endParaRPr>
          </a:p>
        </p:txBody>
      </p:sp>
      <p:sp>
        <p:nvSpPr>
          <p:cNvPr id="6" name="Title 1">
            <a:extLst>
              <a:ext uri="{FF2B5EF4-FFF2-40B4-BE49-F238E27FC236}">
                <a16:creationId xmlns:a16="http://schemas.microsoft.com/office/drawing/2014/main" id="{817935CB-576A-4D4C-B092-BB84510CD043}"/>
              </a:ext>
            </a:extLst>
          </p:cNvPr>
          <p:cNvSpPr>
            <a:spLocks noGrp="1"/>
          </p:cNvSpPr>
          <p:nvPr>
            <p:ph type="title" hasCustomPrompt="1"/>
          </p:nvPr>
        </p:nvSpPr>
        <p:spPr>
          <a:xfrm>
            <a:off x="831850" y="2797768"/>
            <a:ext cx="10515600" cy="602724"/>
          </a:xfrm>
        </p:spPr>
        <p:txBody>
          <a:bodyPr anchor="t">
            <a:noAutofit/>
          </a:bodyPr>
          <a:lstStyle>
            <a:lvl1pPr>
              <a:defRPr sz="4000">
                <a:latin typeface="Buckeye Serif 2 Black" pitchFamily="2" charset="0"/>
                <a:ea typeface="Buckeye Serif 2 Black" pitchFamily="2" charset="0"/>
              </a:defRPr>
            </a:lvl1pPr>
          </a:lstStyle>
          <a:p>
            <a:r>
              <a:rPr lang="en-US" dirty="0"/>
              <a:t>Add closing presentation title </a:t>
            </a:r>
          </a:p>
        </p:txBody>
      </p:sp>
      <p:sp>
        <p:nvSpPr>
          <p:cNvPr id="11" name="Text Placeholder 2">
            <a:extLst>
              <a:ext uri="{FF2B5EF4-FFF2-40B4-BE49-F238E27FC236}">
                <a16:creationId xmlns:a16="http://schemas.microsoft.com/office/drawing/2014/main" id="{8D196AAD-DB61-4A5A-92DC-7F231436880B}"/>
              </a:ext>
            </a:extLst>
          </p:cNvPr>
          <p:cNvSpPr>
            <a:spLocks noGrp="1"/>
          </p:cNvSpPr>
          <p:nvPr>
            <p:ph type="body" idx="1" hasCustomPrompt="1"/>
          </p:nvPr>
        </p:nvSpPr>
        <p:spPr>
          <a:xfrm>
            <a:off x="831850" y="3457508"/>
            <a:ext cx="10515600" cy="496976"/>
          </a:xfrm>
        </p:spPr>
        <p:txBody>
          <a:bodyPr>
            <a:normAutofit/>
          </a:bodyPr>
          <a:lstStyle>
            <a:lvl1pPr marL="0" indent="0">
              <a:buNone/>
              <a:defRPr sz="2400" b="1" i="0">
                <a:solidFill>
                  <a:schemeClr val="tx1"/>
                </a:solidFill>
                <a:latin typeface="Buckeye Sans 2"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x: Comments / Questions?</a:t>
            </a:r>
          </a:p>
        </p:txBody>
      </p:sp>
      <p:sp>
        <p:nvSpPr>
          <p:cNvPr id="2" name="Text Placeholder 2">
            <a:extLst>
              <a:ext uri="{FF2B5EF4-FFF2-40B4-BE49-F238E27FC236}">
                <a16:creationId xmlns:a16="http://schemas.microsoft.com/office/drawing/2014/main" id="{05D68CFC-6082-2CF6-40C4-56493874600A}"/>
              </a:ext>
            </a:extLst>
          </p:cNvPr>
          <p:cNvSpPr>
            <a:spLocks noGrp="1"/>
          </p:cNvSpPr>
          <p:nvPr>
            <p:ph type="body" idx="10" hasCustomPrompt="1"/>
          </p:nvPr>
        </p:nvSpPr>
        <p:spPr>
          <a:xfrm>
            <a:off x="838200" y="4194027"/>
            <a:ext cx="10515600" cy="253959"/>
          </a:xfrm>
        </p:spPr>
        <p:txBody>
          <a:bodyPr>
            <a:normAutofit/>
          </a:bodyPr>
          <a:lstStyle>
            <a:lvl1pPr marL="0" indent="0">
              <a:buNone/>
              <a:defRPr sz="1200" b="1" i="0">
                <a:solidFill>
                  <a:schemeClr val="tx1"/>
                </a:solidFill>
                <a:latin typeface="Buckeye Sans 2"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Presenter’s Name </a:t>
            </a:r>
          </a:p>
        </p:txBody>
      </p:sp>
      <p:sp>
        <p:nvSpPr>
          <p:cNvPr id="5" name="Text Placeholder 2">
            <a:extLst>
              <a:ext uri="{FF2B5EF4-FFF2-40B4-BE49-F238E27FC236}">
                <a16:creationId xmlns:a16="http://schemas.microsoft.com/office/drawing/2014/main" id="{7C022469-8BF7-5DD5-489F-354BD388DC62}"/>
              </a:ext>
            </a:extLst>
          </p:cNvPr>
          <p:cNvSpPr>
            <a:spLocks noGrp="1"/>
          </p:cNvSpPr>
          <p:nvPr>
            <p:ph type="body" idx="11" hasCustomPrompt="1"/>
          </p:nvPr>
        </p:nvSpPr>
        <p:spPr>
          <a:xfrm>
            <a:off x="838200" y="4447986"/>
            <a:ext cx="10515600" cy="253959"/>
          </a:xfrm>
        </p:spPr>
        <p:txBody>
          <a:bodyPr>
            <a:normAutofit/>
          </a:bodyPr>
          <a:lstStyle>
            <a:lvl1pPr marL="0" indent="0">
              <a:buNone/>
              <a:defRPr sz="1200" b="0" i="1">
                <a:solidFill>
                  <a:schemeClr val="tx1"/>
                </a:solidFill>
                <a:latin typeface="Buckeye Sans 2"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Position Title </a:t>
            </a:r>
          </a:p>
        </p:txBody>
      </p:sp>
      <p:sp>
        <p:nvSpPr>
          <p:cNvPr id="8" name="Text Placeholder 2">
            <a:extLst>
              <a:ext uri="{FF2B5EF4-FFF2-40B4-BE49-F238E27FC236}">
                <a16:creationId xmlns:a16="http://schemas.microsoft.com/office/drawing/2014/main" id="{E21796B0-33C8-9BDF-5E2E-93849F973653}"/>
              </a:ext>
            </a:extLst>
          </p:cNvPr>
          <p:cNvSpPr>
            <a:spLocks noGrp="1"/>
          </p:cNvSpPr>
          <p:nvPr>
            <p:ph type="body" idx="12" hasCustomPrompt="1"/>
          </p:nvPr>
        </p:nvSpPr>
        <p:spPr>
          <a:xfrm>
            <a:off x="838200" y="4723113"/>
            <a:ext cx="10515600" cy="253959"/>
          </a:xfrm>
        </p:spPr>
        <p:txBody>
          <a:bodyPr>
            <a:normAutofit/>
          </a:bodyPr>
          <a:lstStyle>
            <a:lvl1pPr marL="0" indent="0">
              <a:buNone/>
              <a:defRPr sz="1200" b="0" i="1">
                <a:solidFill>
                  <a:schemeClr val="tx1"/>
                </a:solidFill>
                <a:latin typeface="Buckeye Sans 2"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mail / Phone Number</a:t>
            </a:r>
          </a:p>
        </p:txBody>
      </p:sp>
    </p:spTree>
    <p:extLst>
      <p:ext uri="{BB962C8B-B14F-4D97-AF65-F5344CB8AC3E}">
        <p14:creationId xmlns:p14="http://schemas.microsoft.com/office/powerpoint/2010/main" val="2951070855"/>
      </p:ext>
    </p:extLst>
  </p:cSld>
  <p:clrMapOvr>
    <a:masterClrMapping/>
  </p:clrMapOvr>
  <p:extLst>
    <p:ext uri="{DCECCB84-F9BA-43D5-87BE-67443E8EF086}">
      <p15:sldGuideLst xmlns:p15="http://schemas.microsoft.com/office/powerpoint/2012/main">
        <p15:guide id="1" orient="horz" pos="386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 Red Background">
    <p:spTree>
      <p:nvGrpSpPr>
        <p:cNvPr id="1" name=""/>
        <p:cNvGrpSpPr/>
        <p:nvPr/>
      </p:nvGrpSpPr>
      <p:grpSpPr>
        <a:xfrm>
          <a:off x="0" y="0"/>
          <a:ext cx="0" cy="0"/>
          <a:chOff x="0" y="0"/>
          <a:chExt cx="0" cy="0"/>
        </a:xfrm>
      </p:grpSpPr>
      <p:sp>
        <p:nvSpPr>
          <p:cNvPr id="7" name="Freeform 6" descr="Red background with notch.">
            <a:extLst>
              <a:ext uri="{FF2B5EF4-FFF2-40B4-BE49-F238E27FC236}">
                <a16:creationId xmlns:a16="http://schemas.microsoft.com/office/drawing/2014/main" id="{221065E6-A38E-4F0C-8A91-83E3ADB9FE2D}"/>
              </a:ext>
            </a:extLst>
          </p:cNvPr>
          <p:cNvSpPr/>
          <p:nvPr userDrawn="1"/>
        </p:nvSpPr>
        <p:spPr>
          <a:xfrm>
            <a:off x="400279" y="361261"/>
            <a:ext cx="11391441" cy="5772839"/>
          </a:xfrm>
          <a:custGeom>
            <a:avLst/>
            <a:gdLst>
              <a:gd name="connsiteX0" fmla="*/ 0 w 11391441"/>
              <a:gd name="connsiteY0" fmla="*/ 11017 h 5772839"/>
              <a:gd name="connsiteX1" fmla="*/ 0 w 11391441"/>
              <a:gd name="connsiteY1" fmla="*/ 5772839 h 5772839"/>
              <a:gd name="connsiteX2" fmla="*/ 10796530 w 11391441"/>
              <a:gd name="connsiteY2" fmla="*/ 5772839 h 5772839"/>
              <a:gd name="connsiteX3" fmla="*/ 11391441 w 11391441"/>
              <a:gd name="connsiteY3" fmla="*/ 5177928 h 5772839"/>
              <a:gd name="connsiteX4" fmla="*/ 11391441 w 11391441"/>
              <a:gd name="connsiteY4" fmla="*/ 0 h 5772839"/>
              <a:gd name="connsiteX5" fmla="*/ 0 w 11391441"/>
              <a:gd name="connsiteY5" fmla="*/ 11017 h 5772839"/>
              <a:gd name="connsiteX0" fmla="*/ 0 w 11391441"/>
              <a:gd name="connsiteY0" fmla="*/ 11017 h 5776369"/>
              <a:gd name="connsiteX1" fmla="*/ 0 w 11391441"/>
              <a:gd name="connsiteY1" fmla="*/ 5772839 h 5776369"/>
              <a:gd name="connsiteX2" fmla="*/ 11379062 w 11391441"/>
              <a:gd name="connsiteY2" fmla="*/ 5776369 h 5776369"/>
              <a:gd name="connsiteX3" fmla="*/ 11391441 w 11391441"/>
              <a:gd name="connsiteY3" fmla="*/ 5177928 h 5776369"/>
              <a:gd name="connsiteX4" fmla="*/ 11391441 w 11391441"/>
              <a:gd name="connsiteY4" fmla="*/ 0 h 5776369"/>
              <a:gd name="connsiteX5" fmla="*/ 0 w 11391441"/>
              <a:gd name="connsiteY5" fmla="*/ 11017 h 5776369"/>
              <a:gd name="connsiteX0" fmla="*/ 0 w 11391441"/>
              <a:gd name="connsiteY0" fmla="*/ 11017 h 5772839"/>
              <a:gd name="connsiteX1" fmla="*/ 0 w 11391441"/>
              <a:gd name="connsiteY1" fmla="*/ 5772839 h 5772839"/>
              <a:gd name="connsiteX2" fmla="*/ 11389654 w 11391441"/>
              <a:gd name="connsiteY2" fmla="*/ 5772839 h 5772839"/>
              <a:gd name="connsiteX3" fmla="*/ 11391441 w 11391441"/>
              <a:gd name="connsiteY3" fmla="*/ 5177928 h 5772839"/>
              <a:gd name="connsiteX4" fmla="*/ 11391441 w 11391441"/>
              <a:gd name="connsiteY4" fmla="*/ 0 h 5772839"/>
              <a:gd name="connsiteX5" fmla="*/ 0 w 11391441"/>
              <a:gd name="connsiteY5" fmla="*/ 11017 h 577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91441" h="5772839">
                <a:moveTo>
                  <a:pt x="0" y="11017"/>
                </a:moveTo>
                <a:lnTo>
                  <a:pt x="0" y="5772839"/>
                </a:lnTo>
                <a:lnTo>
                  <a:pt x="11389654" y="5772839"/>
                </a:lnTo>
                <a:cubicBezTo>
                  <a:pt x="11390250" y="5574535"/>
                  <a:pt x="11390845" y="5376232"/>
                  <a:pt x="11391441" y="5177928"/>
                </a:cubicBezTo>
                <a:lnTo>
                  <a:pt x="11391441" y="0"/>
                </a:lnTo>
                <a:lnTo>
                  <a:pt x="0" y="11017"/>
                </a:lnTo>
                <a:close/>
              </a:path>
            </a:pathLst>
          </a:custGeom>
          <a:solidFill>
            <a:srgbClr val="BA0C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Buckeye Sans 2" pitchFamily="2" charset="0"/>
            </a:endParaRPr>
          </a:p>
        </p:txBody>
      </p:sp>
      <p:sp>
        <p:nvSpPr>
          <p:cNvPr id="8" name="Title 1">
            <a:extLst>
              <a:ext uri="{FF2B5EF4-FFF2-40B4-BE49-F238E27FC236}">
                <a16:creationId xmlns:a16="http://schemas.microsoft.com/office/drawing/2014/main" id="{42AE5508-873C-8C4C-A88E-C1B4E571DDEC}"/>
              </a:ext>
            </a:extLst>
          </p:cNvPr>
          <p:cNvSpPr>
            <a:spLocks noGrp="1"/>
          </p:cNvSpPr>
          <p:nvPr>
            <p:ph type="title" hasCustomPrompt="1"/>
          </p:nvPr>
        </p:nvSpPr>
        <p:spPr>
          <a:xfrm>
            <a:off x="831850" y="2801744"/>
            <a:ext cx="10515600" cy="598748"/>
          </a:xfrm>
        </p:spPr>
        <p:txBody>
          <a:bodyPr anchor="t">
            <a:noAutofit/>
          </a:bodyPr>
          <a:lstStyle>
            <a:lvl1pPr>
              <a:defRPr sz="4000">
                <a:solidFill>
                  <a:schemeClr val="bg1"/>
                </a:solidFill>
                <a:latin typeface="Buckeye Serif 2 Black" pitchFamily="2" charset="0"/>
                <a:ea typeface="Buckeye Serif 2 Black" pitchFamily="2" charset="0"/>
              </a:defRPr>
            </a:lvl1pPr>
          </a:lstStyle>
          <a:p>
            <a:r>
              <a:rPr lang="en-US" dirty="0"/>
              <a:t>Add presentation title</a:t>
            </a:r>
          </a:p>
        </p:txBody>
      </p:sp>
      <p:sp>
        <p:nvSpPr>
          <p:cNvPr id="9" name="Text Placeholder 2">
            <a:extLst>
              <a:ext uri="{FF2B5EF4-FFF2-40B4-BE49-F238E27FC236}">
                <a16:creationId xmlns:a16="http://schemas.microsoft.com/office/drawing/2014/main" id="{AC83112E-B440-C046-B221-F7DBDB8A7639}"/>
              </a:ext>
            </a:extLst>
          </p:cNvPr>
          <p:cNvSpPr>
            <a:spLocks noGrp="1"/>
          </p:cNvSpPr>
          <p:nvPr>
            <p:ph type="body" idx="1" hasCustomPrompt="1"/>
          </p:nvPr>
        </p:nvSpPr>
        <p:spPr>
          <a:xfrm>
            <a:off x="831850" y="3457508"/>
            <a:ext cx="10515600" cy="496976"/>
          </a:xfrm>
        </p:spPr>
        <p:txBody>
          <a:bodyPr>
            <a:normAutofit/>
          </a:bodyPr>
          <a:lstStyle>
            <a:lvl1pPr marL="0" indent="0">
              <a:buNone/>
              <a:defRPr sz="2400">
                <a:solidFill>
                  <a:schemeClr val="bg1"/>
                </a:solidFill>
                <a:latin typeface="Buckeye Sans 2"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your subhead</a:t>
            </a:r>
          </a:p>
        </p:txBody>
      </p:sp>
    </p:spTree>
    <p:extLst>
      <p:ext uri="{BB962C8B-B14F-4D97-AF65-F5344CB8AC3E}">
        <p14:creationId xmlns:p14="http://schemas.microsoft.com/office/powerpoint/2010/main" val="3328660584"/>
      </p:ext>
    </p:extLst>
  </p:cSld>
  <p:clrMapOvr>
    <a:masterClrMapping/>
  </p:clrMapOvr>
  <p:extLst>
    <p:ext uri="{DCECCB84-F9BA-43D5-87BE-67443E8EF086}">
      <p15:sldGuideLst xmlns:p15="http://schemas.microsoft.com/office/powerpoint/2012/main">
        <p15:guide id="1" orient="horz" pos="386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 Gray Background">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221065E6-A38E-4F0C-8A91-83E3ADB9FE2D}"/>
              </a:ext>
            </a:extLst>
          </p:cNvPr>
          <p:cNvSpPr/>
          <p:nvPr userDrawn="1"/>
        </p:nvSpPr>
        <p:spPr>
          <a:xfrm>
            <a:off x="400279" y="361261"/>
            <a:ext cx="11391441" cy="5772839"/>
          </a:xfrm>
          <a:custGeom>
            <a:avLst/>
            <a:gdLst>
              <a:gd name="connsiteX0" fmla="*/ 0 w 11391441"/>
              <a:gd name="connsiteY0" fmla="*/ 11017 h 5772839"/>
              <a:gd name="connsiteX1" fmla="*/ 0 w 11391441"/>
              <a:gd name="connsiteY1" fmla="*/ 5772839 h 5772839"/>
              <a:gd name="connsiteX2" fmla="*/ 10796530 w 11391441"/>
              <a:gd name="connsiteY2" fmla="*/ 5772839 h 5772839"/>
              <a:gd name="connsiteX3" fmla="*/ 11391441 w 11391441"/>
              <a:gd name="connsiteY3" fmla="*/ 5177928 h 5772839"/>
              <a:gd name="connsiteX4" fmla="*/ 11391441 w 11391441"/>
              <a:gd name="connsiteY4" fmla="*/ 0 h 5772839"/>
              <a:gd name="connsiteX5" fmla="*/ 0 w 11391441"/>
              <a:gd name="connsiteY5" fmla="*/ 11017 h 5772839"/>
              <a:gd name="connsiteX0" fmla="*/ 0 w 11391441"/>
              <a:gd name="connsiteY0" fmla="*/ 11017 h 5772839"/>
              <a:gd name="connsiteX1" fmla="*/ 0 w 11391441"/>
              <a:gd name="connsiteY1" fmla="*/ 5772839 h 5772839"/>
              <a:gd name="connsiteX2" fmla="*/ 11388902 w 11391441"/>
              <a:gd name="connsiteY2" fmla="*/ 5768864 h 5772839"/>
              <a:gd name="connsiteX3" fmla="*/ 11391441 w 11391441"/>
              <a:gd name="connsiteY3" fmla="*/ 5177928 h 5772839"/>
              <a:gd name="connsiteX4" fmla="*/ 11391441 w 11391441"/>
              <a:gd name="connsiteY4" fmla="*/ 0 h 5772839"/>
              <a:gd name="connsiteX5" fmla="*/ 0 w 11391441"/>
              <a:gd name="connsiteY5" fmla="*/ 11017 h 577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91441" h="5772839">
                <a:moveTo>
                  <a:pt x="0" y="11017"/>
                </a:moveTo>
                <a:lnTo>
                  <a:pt x="0" y="5772839"/>
                </a:lnTo>
                <a:lnTo>
                  <a:pt x="11388902" y="5768864"/>
                </a:lnTo>
                <a:cubicBezTo>
                  <a:pt x="11389748" y="5571885"/>
                  <a:pt x="11390595" y="5374907"/>
                  <a:pt x="11391441" y="5177928"/>
                </a:cubicBezTo>
                <a:lnTo>
                  <a:pt x="11391441" y="0"/>
                </a:lnTo>
                <a:lnTo>
                  <a:pt x="0" y="11017"/>
                </a:lnTo>
                <a:close/>
              </a:path>
            </a:pathLst>
          </a:custGeom>
          <a:solidFill>
            <a:srgbClr val="A2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Buckeye Sans 2" pitchFamily="2" charset="0"/>
            </a:endParaRPr>
          </a:p>
        </p:txBody>
      </p:sp>
      <p:sp>
        <p:nvSpPr>
          <p:cNvPr id="10" name="Title 1">
            <a:extLst>
              <a:ext uri="{FF2B5EF4-FFF2-40B4-BE49-F238E27FC236}">
                <a16:creationId xmlns:a16="http://schemas.microsoft.com/office/drawing/2014/main" id="{CB886935-7C88-4FAC-B5EA-26B6E2C724B5}"/>
              </a:ext>
            </a:extLst>
          </p:cNvPr>
          <p:cNvSpPr>
            <a:spLocks noGrp="1"/>
          </p:cNvSpPr>
          <p:nvPr>
            <p:ph type="title" hasCustomPrompt="1"/>
          </p:nvPr>
        </p:nvSpPr>
        <p:spPr>
          <a:xfrm>
            <a:off x="838200" y="2781865"/>
            <a:ext cx="10515600" cy="618627"/>
          </a:xfrm>
        </p:spPr>
        <p:txBody>
          <a:bodyPr anchor="t">
            <a:noAutofit/>
          </a:bodyPr>
          <a:lstStyle>
            <a:lvl1pPr>
              <a:defRPr sz="4000">
                <a:solidFill>
                  <a:schemeClr val="bg1"/>
                </a:solidFill>
                <a:latin typeface="Buckeye Serif 2 Black" pitchFamily="2" charset="0"/>
                <a:ea typeface="Buckeye Serif 2 Black" pitchFamily="2" charset="0"/>
              </a:defRPr>
            </a:lvl1pPr>
          </a:lstStyle>
          <a:p>
            <a:r>
              <a:rPr lang="en-US" dirty="0"/>
              <a:t>Add presentation title</a:t>
            </a:r>
          </a:p>
        </p:txBody>
      </p:sp>
      <p:sp>
        <p:nvSpPr>
          <p:cNvPr id="11" name="Text Placeholder 2">
            <a:extLst>
              <a:ext uri="{FF2B5EF4-FFF2-40B4-BE49-F238E27FC236}">
                <a16:creationId xmlns:a16="http://schemas.microsoft.com/office/drawing/2014/main" id="{AFF34C0F-9E6C-46E9-B987-F161304FBF22}"/>
              </a:ext>
            </a:extLst>
          </p:cNvPr>
          <p:cNvSpPr>
            <a:spLocks noGrp="1"/>
          </p:cNvSpPr>
          <p:nvPr>
            <p:ph type="body" idx="1" hasCustomPrompt="1"/>
          </p:nvPr>
        </p:nvSpPr>
        <p:spPr>
          <a:xfrm>
            <a:off x="831850" y="3457508"/>
            <a:ext cx="10515600" cy="496976"/>
          </a:xfrm>
        </p:spPr>
        <p:txBody>
          <a:bodyPr>
            <a:normAutofit/>
          </a:bodyPr>
          <a:lstStyle>
            <a:lvl1pPr marL="0" indent="0">
              <a:buNone/>
              <a:defRPr sz="2400">
                <a:solidFill>
                  <a:schemeClr val="bg1"/>
                </a:solidFill>
                <a:latin typeface="Buckeye Sans 2"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your subhead</a:t>
            </a:r>
          </a:p>
        </p:txBody>
      </p:sp>
    </p:spTree>
    <p:extLst>
      <p:ext uri="{BB962C8B-B14F-4D97-AF65-F5344CB8AC3E}">
        <p14:creationId xmlns:p14="http://schemas.microsoft.com/office/powerpoint/2010/main" val="1407851129"/>
      </p:ext>
    </p:extLst>
  </p:cSld>
  <p:clrMapOvr>
    <a:masterClrMapping/>
  </p:clrMapOvr>
  <p:extLst>
    <p:ext uri="{DCECCB84-F9BA-43D5-87BE-67443E8EF086}">
      <p15:sldGuideLst xmlns:p15="http://schemas.microsoft.com/office/powerpoint/2012/main">
        <p15:guide id="1" orient="horz" pos="386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4BCD-FA64-49DA-96F8-3CF7621013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458D20-D048-450A-B09A-0E705F876D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41149F-ADF7-4294-B656-8FEC26CBCC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1487D3-D57C-42EF-BA80-4C913EC2CC6F}"/>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6" name="Footer Placeholder 5">
            <a:extLst>
              <a:ext uri="{FF2B5EF4-FFF2-40B4-BE49-F238E27FC236}">
                <a16:creationId xmlns:a16="http://schemas.microsoft.com/office/drawing/2014/main" id="{C5A1D174-8065-4662-BB28-6F75BCB004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CADE99-4495-4055-829D-F76F05856753}"/>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6727340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D4E7D8D-3CE6-BC4E-BA91-C825C3B79A33}"/>
              </a:ext>
            </a:extLst>
          </p:cNvPr>
          <p:cNvSpPr>
            <a:spLocks noGrp="1"/>
          </p:cNvSpPr>
          <p:nvPr>
            <p:ph type="title" hasCustomPrompt="1"/>
          </p:nvPr>
        </p:nvSpPr>
        <p:spPr>
          <a:xfrm>
            <a:off x="831850" y="2833549"/>
            <a:ext cx="10515600" cy="566943"/>
          </a:xfrm>
        </p:spPr>
        <p:txBody>
          <a:bodyPr anchor="t">
            <a:noAutofit/>
          </a:bodyPr>
          <a:lstStyle>
            <a:lvl1pPr>
              <a:defRPr sz="4000">
                <a:latin typeface="Buckeye Serif 2 Black" pitchFamily="2" charset="0"/>
                <a:ea typeface="Buckeye Serif 2 Black" pitchFamily="2" charset="0"/>
              </a:defRPr>
            </a:lvl1pPr>
          </a:lstStyle>
          <a:p>
            <a:r>
              <a:rPr lang="en-US" dirty="0"/>
              <a:t>Click to add title</a:t>
            </a:r>
          </a:p>
        </p:txBody>
      </p:sp>
      <p:sp>
        <p:nvSpPr>
          <p:cNvPr id="8" name="Text Placeholder 2">
            <a:extLst>
              <a:ext uri="{FF2B5EF4-FFF2-40B4-BE49-F238E27FC236}">
                <a16:creationId xmlns:a16="http://schemas.microsoft.com/office/drawing/2014/main" id="{19BB5AB9-FC6F-7F4D-885C-DFDA822904D4}"/>
              </a:ext>
            </a:extLst>
          </p:cNvPr>
          <p:cNvSpPr>
            <a:spLocks noGrp="1"/>
          </p:cNvSpPr>
          <p:nvPr>
            <p:ph type="body" idx="1" hasCustomPrompt="1"/>
          </p:nvPr>
        </p:nvSpPr>
        <p:spPr>
          <a:xfrm>
            <a:off x="831850" y="3457508"/>
            <a:ext cx="10515600" cy="496976"/>
          </a:xfrm>
        </p:spPr>
        <p:txBody>
          <a:bodyPr>
            <a:normAutofit/>
          </a:bodyPr>
          <a:lstStyle>
            <a:lvl1pPr marL="0" indent="0">
              <a:buNone/>
              <a:defRPr sz="2400" b="1" i="0">
                <a:solidFill>
                  <a:schemeClr val="tx1"/>
                </a:solidFill>
                <a:latin typeface="Buckeye Sans 2"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text</a:t>
            </a:r>
          </a:p>
        </p:txBody>
      </p:sp>
    </p:spTree>
    <p:extLst>
      <p:ext uri="{BB962C8B-B14F-4D97-AF65-F5344CB8AC3E}">
        <p14:creationId xmlns:p14="http://schemas.microsoft.com/office/powerpoint/2010/main" val="177525671"/>
      </p:ext>
    </p:extLst>
  </p:cSld>
  <p:clrMapOvr>
    <a:masterClrMapping/>
  </p:clrMapOvr>
  <p:extLst>
    <p:ext uri="{DCECCB84-F9BA-43D5-87BE-67443E8EF086}">
      <p15:sldGuideLst xmlns:p15="http://schemas.microsoft.com/office/powerpoint/2012/main">
        <p15:guide id="1" pos="7128">
          <p15:clr>
            <a:srgbClr val="FBAE40"/>
          </p15:clr>
        </p15:guide>
        <p15:guide id="2" orient="horz" pos="456">
          <p15:clr>
            <a:srgbClr val="FBAE40"/>
          </p15:clr>
        </p15:guide>
        <p15:guide id="3" orient="horz" pos="360">
          <p15:clr>
            <a:srgbClr val="FBAE40"/>
          </p15:clr>
        </p15:guide>
        <p15:guide id="4" orient="horz" pos="288">
          <p15:clr>
            <a:srgbClr val="FBAE40"/>
          </p15:clr>
        </p15:guide>
        <p15:guide id="5" pos="7392">
          <p15:clr>
            <a:srgbClr val="FBAE40"/>
          </p15:clr>
        </p15:guide>
        <p15:guide id="6" pos="72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s with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9CF42-CFB0-4813-AFA8-72E0DF893747}"/>
              </a:ext>
            </a:extLst>
          </p:cNvPr>
          <p:cNvSpPr>
            <a:spLocks noGrp="1"/>
          </p:cNvSpPr>
          <p:nvPr>
            <p:ph type="title" hasCustomPrompt="1"/>
          </p:nvPr>
        </p:nvSpPr>
        <p:spPr>
          <a:xfrm>
            <a:off x="839789" y="2332273"/>
            <a:ext cx="3637944" cy="1325563"/>
          </a:xfrm>
        </p:spPr>
        <p:txBody>
          <a:bodyPr anchor="t">
            <a:normAutofit/>
          </a:bodyPr>
          <a:lstStyle>
            <a:lvl1pPr>
              <a:defRPr sz="4000">
                <a:latin typeface="Buckeye Serif 2 Black" pitchFamily="2" charset="0"/>
                <a:ea typeface="Buckeye Serif 2 Black" pitchFamily="2" charset="0"/>
              </a:defRPr>
            </a:lvl1pPr>
          </a:lstStyle>
          <a:p>
            <a:r>
              <a:rPr lang="en-US" dirty="0"/>
              <a:t>Click to add title</a:t>
            </a:r>
          </a:p>
        </p:txBody>
      </p:sp>
      <p:sp>
        <p:nvSpPr>
          <p:cNvPr id="4" name="Content Placeholder 3">
            <a:extLst>
              <a:ext uri="{FF2B5EF4-FFF2-40B4-BE49-F238E27FC236}">
                <a16:creationId xmlns:a16="http://schemas.microsoft.com/office/drawing/2014/main" id="{2896339C-BF56-4C01-9057-10C1041C7837}"/>
              </a:ext>
            </a:extLst>
          </p:cNvPr>
          <p:cNvSpPr>
            <a:spLocks noGrp="1"/>
          </p:cNvSpPr>
          <p:nvPr>
            <p:ph sz="half" idx="2" hasCustomPrompt="1"/>
          </p:nvPr>
        </p:nvSpPr>
        <p:spPr>
          <a:xfrm>
            <a:off x="839789" y="3761294"/>
            <a:ext cx="3637944" cy="1285367"/>
          </a:xfrm>
        </p:spPr>
        <p:txBody>
          <a:bodyPr>
            <a:normAutofit/>
          </a:bodyPr>
          <a:lstStyle>
            <a:lvl1pPr marL="0" indent="0">
              <a:buNone/>
              <a:defRPr sz="1600">
                <a:latin typeface="Buckeye Sans 2" pitchFamily="2" charset="0"/>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dirty="0"/>
              <a:t>Click to add text</a:t>
            </a:r>
          </a:p>
        </p:txBody>
      </p:sp>
      <p:cxnSp>
        <p:nvCxnSpPr>
          <p:cNvPr id="11" name="Straight Connector 10">
            <a:extLst>
              <a:ext uri="{FF2B5EF4-FFF2-40B4-BE49-F238E27FC236}">
                <a16:creationId xmlns:a16="http://schemas.microsoft.com/office/drawing/2014/main" id="{5F33B443-BC15-456F-A843-6F23BCE2348A}"/>
              </a:ext>
            </a:extLst>
          </p:cNvPr>
          <p:cNvCxnSpPr>
            <a:cxnSpLocks/>
          </p:cNvCxnSpPr>
          <p:nvPr/>
        </p:nvCxnSpPr>
        <p:spPr>
          <a:xfrm>
            <a:off x="839789" y="2060409"/>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7233CD8-5E31-4581-814D-DA09D49C1F86}"/>
              </a:ext>
            </a:extLst>
          </p:cNvPr>
          <p:cNvCxnSpPr>
            <a:cxnSpLocks/>
          </p:cNvCxnSpPr>
          <p:nvPr/>
        </p:nvCxnSpPr>
        <p:spPr>
          <a:xfrm flipV="1">
            <a:off x="4982055" y="1355651"/>
            <a:ext cx="0" cy="47057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4">
            <a:extLst>
              <a:ext uri="{FF2B5EF4-FFF2-40B4-BE49-F238E27FC236}">
                <a16:creationId xmlns:a16="http://schemas.microsoft.com/office/drawing/2014/main" id="{6EC31054-F323-447E-A250-00C70D033246}"/>
              </a:ext>
            </a:extLst>
          </p:cNvPr>
          <p:cNvSpPr>
            <a:spLocks noGrp="1"/>
          </p:cNvSpPr>
          <p:nvPr>
            <p:ph type="body" sz="quarter" idx="24" hasCustomPrompt="1"/>
          </p:nvPr>
        </p:nvSpPr>
        <p:spPr>
          <a:xfrm>
            <a:off x="6561816" y="3994920"/>
            <a:ext cx="4524097" cy="296986"/>
          </a:xfrm>
        </p:spPr>
        <p:txBody>
          <a:bodyPr anchor="b">
            <a:noAutofit/>
          </a:bodyPr>
          <a:lstStyle>
            <a:lvl1pPr marL="0" indent="0">
              <a:buNone/>
              <a:defRPr sz="1600" b="1">
                <a:latin typeface="Buckeye Sans 2"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HEADING</a:t>
            </a:r>
          </a:p>
        </p:txBody>
      </p:sp>
      <p:sp>
        <p:nvSpPr>
          <p:cNvPr id="24" name="Content Placeholder 3">
            <a:extLst>
              <a:ext uri="{FF2B5EF4-FFF2-40B4-BE49-F238E27FC236}">
                <a16:creationId xmlns:a16="http://schemas.microsoft.com/office/drawing/2014/main" id="{2A0E534F-F82F-491F-A155-625F7F13DD81}"/>
              </a:ext>
            </a:extLst>
          </p:cNvPr>
          <p:cNvSpPr>
            <a:spLocks noGrp="1"/>
          </p:cNvSpPr>
          <p:nvPr>
            <p:ph sz="half" idx="25" hasCustomPrompt="1"/>
          </p:nvPr>
        </p:nvSpPr>
        <p:spPr>
          <a:xfrm>
            <a:off x="6561809" y="4291906"/>
            <a:ext cx="4524097" cy="754756"/>
          </a:xfrm>
        </p:spPr>
        <p:txBody>
          <a:bodyPr>
            <a:noAutofit/>
          </a:bodyPr>
          <a:lstStyle>
            <a:lvl1pPr marL="0" indent="0">
              <a:buNone/>
              <a:defRPr sz="1200">
                <a:latin typeface="Buckeye Sans 2" pitchFamily="2" charset="0"/>
              </a:defRPr>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Click to add text</a:t>
            </a:r>
          </a:p>
        </p:txBody>
      </p:sp>
      <p:sp>
        <p:nvSpPr>
          <p:cNvPr id="51" name="Text Placeholder 4">
            <a:extLst>
              <a:ext uri="{FF2B5EF4-FFF2-40B4-BE49-F238E27FC236}">
                <a16:creationId xmlns:a16="http://schemas.microsoft.com/office/drawing/2014/main" id="{B728998F-9EE1-43FC-BCB4-C16643C59BE1}"/>
              </a:ext>
            </a:extLst>
          </p:cNvPr>
          <p:cNvSpPr>
            <a:spLocks noGrp="1"/>
          </p:cNvSpPr>
          <p:nvPr>
            <p:ph type="body" sz="quarter" idx="16" hasCustomPrompt="1"/>
          </p:nvPr>
        </p:nvSpPr>
        <p:spPr>
          <a:xfrm>
            <a:off x="6561823" y="1197473"/>
            <a:ext cx="4524097" cy="296986"/>
          </a:xfrm>
        </p:spPr>
        <p:txBody>
          <a:bodyPr anchor="b">
            <a:noAutofit/>
          </a:bodyPr>
          <a:lstStyle>
            <a:lvl1pPr marL="0" indent="0">
              <a:buNone/>
              <a:defRPr sz="1600" b="1">
                <a:latin typeface="Buckeye Sans 2"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HEADING</a:t>
            </a:r>
          </a:p>
        </p:txBody>
      </p:sp>
      <p:sp>
        <p:nvSpPr>
          <p:cNvPr id="52" name="Content Placeholder 3">
            <a:extLst>
              <a:ext uri="{FF2B5EF4-FFF2-40B4-BE49-F238E27FC236}">
                <a16:creationId xmlns:a16="http://schemas.microsoft.com/office/drawing/2014/main" id="{8067985F-B9E8-42F2-A944-AE03F28C0F55}"/>
              </a:ext>
            </a:extLst>
          </p:cNvPr>
          <p:cNvSpPr>
            <a:spLocks noGrp="1"/>
          </p:cNvSpPr>
          <p:nvPr>
            <p:ph sz="half" idx="19" hasCustomPrompt="1"/>
          </p:nvPr>
        </p:nvSpPr>
        <p:spPr>
          <a:xfrm>
            <a:off x="6561816" y="1494459"/>
            <a:ext cx="4524097" cy="754756"/>
          </a:xfrm>
        </p:spPr>
        <p:txBody>
          <a:bodyPr>
            <a:noAutofit/>
          </a:bodyPr>
          <a:lstStyle>
            <a:lvl1pPr marL="0" indent="0">
              <a:buNone/>
              <a:defRPr sz="1200">
                <a:latin typeface="Buckeye Sans 2" pitchFamily="2" charset="0"/>
              </a:defRPr>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Click to add text</a:t>
            </a:r>
          </a:p>
        </p:txBody>
      </p:sp>
      <p:sp>
        <p:nvSpPr>
          <p:cNvPr id="53" name="Text Placeholder 4">
            <a:extLst>
              <a:ext uri="{FF2B5EF4-FFF2-40B4-BE49-F238E27FC236}">
                <a16:creationId xmlns:a16="http://schemas.microsoft.com/office/drawing/2014/main" id="{490404F6-7224-4848-A971-24B4FF6E806F}"/>
              </a:ext>
            </a:extLst>
          </p:cNvPr>
          <p:cNvSpPr>
            <a:spLocks noGrp="1"/>
          </p:cNvSpPr>
          <p:nvPr>
            <p:ph type="body" sz="quarter" idx="21" hasCustomPrompt="1"/>
          </p:nvPr>
        </p:nvSpPr>
        <p:spPr>
          <a:xfrm>
            <a:off x="6561816" y="2636028"/>
            <a:ext cx="4524097" cy="296986"/>
          </a:xfrm>
        </p:spPr>
        <p:txBody>
          <a:bodyPr anchor="b">
            <a:noAutofit/>
          </a:bodyPr>
          <a:lstStyle>
            <a:lvl1pPr marL="0" indent="0">
              <a:buNone/>
              <a:defRPr sz="1600" b="1">
                <a:latin typeface="Buckeye Sans 2"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HEADING</a:t>
            </a:r>
          </a:p>
        </p:txBody>
      </p:sp>
      <p:sp>
        <p:nvSpPr>
          <p:cNvPr id="54" name="Content Placeholder 3">
            <a:extLst>
              <a:ext uri="{FF2B5EF4-FFF2-40B4-BE49-F238E27FC236}">
                <a16:creationId xmlns:a16="http://schemas.microsoft.com/office/drawing/2014/main" id="{1964471D-8FFE-438E-9FBA-64267EFBBFAB}"/>
              </a:ext>
            </a:extLst>
          </p:cNvPr>
          <p:cNvSpPr>
            <a:spLocks noGrp="1"/>
          </p:cNvSpPr>
          <p:nvPr>
            <p:ph sz="half" idx="22" hasCustomPrompt="1"/>
          </p:nvPr>
        </p:nvSpPr>
        <p:spPr>
          <a:xfrm>
            <a:off x="6561809" y="2933014"/>
            <a:ext cx="4524097" cy="754756"/>
          </a:xfrm>
        </p:spPr>
        <p:txBody>
          <a:bodyPr>
            <a:noAutofit/>
          </a:bodyPr>
          <a:lstStyle>
            <a:lvl1pPr marL="0" indent="0">
              <a:buNone/>
              <a:defRPr sz="1200">
                <a:latin typeface="Buckeye Sans 2" pitchFamily="2" charset="0"/>
              </a:defRPr>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Click to add text</a:t>
            </a:r>
          </a:p>
        </p:txBody>
      </p:sp>
      <p:sp>
        <p:nvSpPr>
          <p:cNvPr id="55" name="Picture Placeholder 4">
            <a:extLst>
              <a:ext uri="{FF2B5EF4-FFF2-40B4-BE49-F238E27FC236}">
                <a16:creationId xmlns:a16="http://schemas.microsoft.com/office/drawing/2014/main" id="{0F6B0760-82B2-4CA7-A2D3-756E651D911C}"/>
              </a:ext>
            </a:extLst>
          </p:cNvPr>
          <p:cNvSpPr>
            <a:spLocks noGrp="1"/>
          </p:cNvSpPr>
          <p:nvPr>
            <p:ph type="pic" sz="quarter" idx="13"/>
          </p:nvPr>
        </p:nvSpPr>
        <p:spPr>
          <a:xfrm>
            <a:off x="5495829" y="1186651"/>
            <a:ext cx="914400" cy="914400"/>
          </a:xfrm>
        </p:spPr>
        <p:txBody>
          <a:bodyPr>
            <a:noAutofit/>
          </a:bodyPr>
          <a:lstStyle>
            <a:lvl1pPr>
              <a:defRPr sz="1200">
                <a:latin typeface="Buckeye Sans 2" pitchFamily="2" charset="0"/>
              </a:defRPr>
            </a:lvl1pPr>
          </a:lstStyle>
          <a:p>
            <a:r>
              <a:rPr lang="en-US" dirty="0"/>
              <a:t>Click icon to add picture</a:t>
            </a:r>
          </a:p>
        </p:txBody>
      </p:sp>
      <p:sp>
        <p:nvSpPr>
          <p:cNvPr id="56" name="Picture Placeholder 4">
            <a:extLst>
              <a:ext uri="{FF2B5EF4-FFF2-40B4-BE49-F238E27FC236}">
                <a16:creationId xmlns:a16="http://schemas.microsoft.com/office/drawing/2014/main" id="{2CF44716-EA23-4345-A2F2-2AD1E1A3DC91}"/>
              </a:ext>
            </a:extLst>
          </p:cNvPr>
          <p:cNvSpPr>
            <a:spLocks noGrp="1"/>
          </p:cNvSpPr>
          <p:nvPr>
            <p:ph type="pic" sz="quarter" idx="20"/>
          </p:nvPr>
        </p:nvSpPr>
        <p:spPr>
          <a:xfrm>
            <a:off x="5495822" y="2625206"/>
            <a:ext cx="914400" cy="914400"/>
          </a:xfrm>
        </p:spPr>
        <p:txBody>
          <a:bodyPr>
            <a:noAutofit/>
          </a:bodyPr>
          <a:lstStyle>
            <a:lvl1pPr>
              <a:defRPr sz="1200">
                <a:latin typeface="Buckeye Sans 2" pitchFamily="2" charset="0"/>
              </a:defRPr>
            </a:lvl1pPr>
          </a:lstStyle>
          <a:p>
            <a:r>
              <a:rPr lang="en-US" dirty="0"/>
              <a:t>Click icon to add picture</a:t>
            </a:r>
          </a:p>
        </p:txBody>
      </p:sp>
      <p:sp>
        <p:nvSpPr>
          <p:cNvPr id="57" name="Picture Placeholder 4">
            <a:extLst>
              <a:ext uri="{FF2B5EF4-FFF2-40B4-BE49-F238E27FC236}">
                <a16:creationId xmlns:a16="http://schemas.microsoft.com/office/drawing/2014/main" id="{C44E1D52-F0FC-46A3-BA7B-EA52BE15ECAA}"/>
              </a:ext>
            </a:extLst>
          </p:cNvPr>
          <p:cNvSpPr>
            <a:spLocks noGrp="1"/>
          </p:cNvSpPr>
          <p:nvPr>
            <p:ph type="pic" sz="quarter" idx="23"/>
          </p:nvPr>
        </p:nvSpPr>
        <p:spPr>
          <a:xfrm>
            <a:off x="5495822" y="3984098"/>
            <a:ext cx="914400" cy="914400"/>
          </a:xfrm>
        </p:spPr>
        <p:txBody>
          <a:bodyPr>
            <a:noAutofit/>
          </a:bodyPr>
          <a:lstStyle>
            <a:lvl1pPr>
              <a:defRPr sz="1200"/>
            </a:lvl1pPr>
          </a:lstStyle>
          <a:p>
            <a:r>
              <a:rPr lang="en-US" dirty="0"/>
              <a:t>Click icon to add picture</a:t>
            </a:r>
          </a:p>
        </p:txBody>
      </p:sp>
    </p:spTree>
    <p:extLst>
      <p:ext uri="{BB962C8B-B14F-4D97-AF65-F5344CB8AC3E}">
        <p14:creationId xmlns:p14="http://schemas.microsoft.com/office/powerpoint/2010/main" val="13435158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7AA6A-DE3E-452A-8765-F4A9FE447D22}"/>
              </a:ext>
            </a:extLst>
          </p:cNvPr>
          <p:cNvSpPr>
            <a:spLocks noGrp="1"/>
          </p:cNvSpPr>
          <p:nvPr>
            <p:ph type="title" hasCustomPrompt="1"/>
          </p:nvPr>
        </p:nvSpPr>
        <p:spPr>
          <a:xfrm>
            <a:off x="838200" y="986042"/>
            <a:ext cx="10515600" cy="838854"/>
          </a:xfrm>
        </p:spPr>
        <p:txBody>
          <a:bodyPr anchor="t">
            <a:normAutofit/>
          </a:bodyPr>
          <a:lstStyle>
            <a:lvl1pPr>
              <a:defRPr sz="4000">
                <a:latin typeface="Buckeye Serif 2 Black" pitchFamily="2" charset="0"/>
                <a:ea typeface="Buckeye Serif 2 Black" pitchFamily="2" charset="0"/>
              </a:defRPr>
            </a:lvl1pPr>
          </a:lstStyle>
          <a:p>
            <a:r>
              <a:rPr lang="en-US" dirty="0"/>
              <a:t>Click to add title</a:t>
            </a:r>
          </a:p>
        </p:txBody>
      </p:sp>
      <p:sp>
        <p:nvSpPr>
          <p:cNvPr id="3" name="Content Placeholder 2">
            <a:extLst>
              <a:ext uri="{FF2B5EF4-FFF2-40B4-BE49-F238E27FC236}">
                <a16:creationId xmlns:a16="http://schemas.microsoft.com/office/drawing/2014/main" id="{65092BB6-0EC3-47A0-964A-91B4EAB22C4B}"/>
              </a:ext>
            </a:extLst>
          </p:cNvPr>
          <p:cNvSpPr>
            <a:spLocks noGrp="1"/>
          </p:cNvSpPr>
          <p:nvPr>
            <p:ph idx="1" hasCustomPrompt="1"/>
          </p:nvPr>
        </p:nvSpPr>
        <p:spPr>
          <a:xfrm>
            <a:off x="838200" y="2161509"/>
            <a:ext cx="10515600" cy="4015454"/>
          </a:xfrm>
        </p:spPr>
        <p:txBody>
          <a:bodyPr>
            <a:normAutofit/>
          </a:bodyPr>
          <a:lstStyle>
            <a:lvl1pPr>
              <a:defRPr sz="1800">
                <a:latin typeface="Buckeye Sans 2" pitchFamily="2" charset="0"/>
              </a:defRPr>
            </a:lvl1pPr>
            <a:lvl2pPr marL="457200" indent="0">
              <a:buNone/>
              <a:defRPr sz="1800">
                <a:latin typeface="Buckeye Sans 2" pitchFamily="2" charset="0"/>
              </a:defRPr>
            </a:lvl2pPr>
            <a:lvl3pPr>
              <a:defRPr sz="1600">
                <a:latin typeface="Buckeye Sans 2" pitchFamily="2" charset="0"/>
              </a:defRPr>
            </a:lvl3pPr>
          </a:lstStyle>
          <a:p>
            <a:pPr lvl="0"/>
            <a:r>
              <a:rPr lang="en-US" dirty="0"/>
              <a:t>Click to add tex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p:txBody>
      </p:sp>
      <p:cxnSp>
        <p:nvCxnSpPr>
          <p:cNvPr id="7" name="Straight Connector 6">
            <a:extLst>
              <a:ext uri="{FF2B5EF4-FFF2-40B4-BE49-F238E27FC236}">
                <a16:creationId xmlns:a16="http://schemas.microsoft.com/office/drawing/2014/main" id="{07748A89-EDD3-4E47-AFE7-62C61C34960B}"/>
              </a:ext>
            </a:extLst>
          </p:cNvPr>
          <p:cNvCxnSpPr>
            <a:cxnSpLocks/>
          </p:cNvCxnSpPr>
          <p:nvPr/>
        </p:nvCxnSpPr>
        <p:spPr>
          <a:xfrm>
            <a:off x="838200" y="801837"/>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9436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D110778-4DA8-45B3-97ED-ECBE5C60858E}"/>
              </a:ext>
            </a:extLst>
          </p:cNvPr>
          <p:cNvSpPr>
            <a:spLocks noGrp="1"/>
          </p:cNvSpPr>
          <p:nvPr>
            <p:ph type="body" idx="1" hasCustomPrompt="1"/>
          </p:nvPr>
        </p:nvSpPr>
        <p:spPr>
          <a:xfrm>
            <a:off x="839788" y="1883038"/>
            <a:ext cx="3200400" cy="636878"/>
          </a:xfrm>
        </p:spPr>
        <p:txBody>
          <a:bodyPr anchor="b">
            <a:normAutofit/>
          </a:bodyPr>
          <a:lstStyle>
            <a:lvl1pPr marL="0" indent="0" algn="ctr">
              <a:buNone/>
              <a:defRPr sz="1800" b="1">
                <a:latin typeface="Buckeye Sans 2"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4" name="Content Placeholder 3">
            <a:extLst>
              <a:ext uri="{FF2B5EF4-FFF2-40B4-BE49-F238E27FC236}">
                <a16:creationId xmlns:a16="http://schemas.microsoft.com/office/drawing/2014/main" id="{2896339C-BF56-4C01-9057-10C1041C7837}"/>
              </a:ext>
            </a:extLst>
          </p:cNvPr>
          <p:cNvSpPr>
            <a:spLocks noGrp="1"/>
          </p:cNvSpPr>
          <p:nvPr>
            <p:ph sz="half" idx="2" hasCustomPrompt="1"/>
          </p:nvPr>
        </p:nvSpPr>
        <p:spPr>
          <a:xfrm>
            <a:off x="839788" y="2706950"/>
            <a:ext cx="3200400" cy="3060729"/>
          </a:xfrm>
        </p:spPr>
        <p:txBody>
          <a:bodyPr>
            <a:normAutofit/>
          </a:bodyPr>
          <a:lstStyle>
            <a:lvl1pPr>
              <a:defRPr sz="1400">
                <a:latin typeface="Buckeye Sans 2" pitchFamily="2" charset="0"/>
              </a:defRPr>
            </a:lvl1pPr>
            <a:lvl2pPr marL="457200" indent="0">
              <a:buNone/>
              <a:defRPr sz="1400">
                <a:latin typeface="Buckeye Sans 2" pitchFamily="2" charset="0"/>
              </a:defRPr>
            </a:lvl2pPr>
            <a:lvl3pPr>
              <a:defRPr sz="1600"/>
            </a:lvl3pPr>
            <a:lvl4pPr>
              <a:defRPr sz="1400"/>
            </a:lvl4pPr>
            <a:lvl5pPr>
              <a:defRPr sz="1400"/>
            </a:lvl5pPr>
          </a:lstStyle>
          <a:p>
            <a:pPr lvl="0"/>
            <a:r>
              <a:rPr lang="en-US" dirty="0"/>
              <a:t>Click to add tex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a:p>
            <a:pPr lvl="1"/>
            <a:endParaRPr lang="en-US" dirty="0"/>
          </a:p>
          <a:p>
            <a:pPr lvl="1"/>
            <a:endParaRPr lang="en-US" dirty="0"/>
          </a:p>
          <a:p>
            <a:pPr lvl="1"/>
            <a:endParaRPr lang="en-US" dirty="0"/>
          </a:p>
        </p:txBody>
      </p:sp>
      <p:sp>
        <p:nvSpPr>
          <p:cNvPr id="10" name="Text Placeholder 4">
            <a:extLst>
              <a:ext uri="{FF2B5EF4-FFF2-40B4-BE49-F238E27FC236}">
                <a16:creationId xmlns:a16="http://schemas.microsoft.com/office/drawing/2014/main" id="{44800EDF-F600-4ABA-9A26-740C4D40C653}"/>
              </a:ext>
            </a:extLst>
          </p:cNvPr>
          <p:cNvSpPr>
            <a:spLocks noGrp="1"/>
          </p:cNvSpPr>
          <p:nvPr>
            <p:ph type="body" sz="quarter" idx="13" hasCustomPrompt="1"/>
          </p:nvPr>
        </p:nvSpPr>
        <p:spPr>
          <a:xfrm>
            <a:off x="8151812" y="1883038"/>
            <a:ext cx="3200400" cy="636878"/>
          </a:xfrm>
        </p:spPr>
        <p:txBody>
          <a:bodyPr anchor="b">
            <a:normAutofit/>
          </a:bodyPr>
          <a:lstStyle>
            <a:lvl1pPr marL="0" indent="0" algn="ctr">
              <a:buNone/>
              <a:defRPr sz="1800" b="1">
                <a:latin typeface="Buckeye Sans 2"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11" name="Content Placeholder 5">
            <a:extLst>
              <a:ext uri="{FF2B5EF4-FFF2-40B4-BE49-F238E27FC236}">
                <a16:creationId xmlns:a16="http://schemas.microsoft.com/office/drawing/2014/main" id="{15DC47ED-65AF-468C-B064-C602467FDF9F}"/>
              </a:ext>
            </a:extLst>
          </p:cNvPr>
          <p:cNvSpPr>
            <a:spLocks noGrp="1"/>
          </p:cNvSpPr>
          <p:nvPr>
            <p:ph sz="quarter" idx="14" hasCustomPrompt="1"/>
          </p:nvPr>
        </p:nvSpPr>
        <p:spPr>
          <a:xfrm>
            <a:off x="8151812" y="2706950"/>
            <a:ext cx="3200400" cy="3060729"/>
          </a:xfrm>
        </p:spPr>
        <p:txBody>
          <a:bodyPr>
            <a:normAutofit/>
          </a:bodyPr>
          <a:lstStyle>
            <a:lvl1pPr>
              <a:defRPr sz="1400">
                <a:latin typeface="Buckeye Sans 2" pitchFamily="2" charset="0"/>
              </a:defRPr>
            </a:lvl1pPr>
            <a:lvl2pPr marL="457200" indent="0">
              <a:buNone/>
              <a:defRPr sz="1400">
                <a:latin typeface="Buckeye Sans 2" pitchFamily="2" charset="0"/>
              </a:defRPr>
            </a:lvl2pPr>
            <a:lvl3pPr>
              <a:defRPr sz="1600"/>
            </a:lvl3pPr>
            <a:lvl4pPr>
              <a:defRPr sz="1400"/>
            </a:lvl4pPr>
            <a:lvl5pPr>
              <a:defRPr sz="1400"/>
            </a:lvl5pPr>
          </a:lstStyle>
          <a:p>
            <a:pPr lvl="0"/>
            <a:r>
              <a:rPr lang="en-US" dirty="0"/>
              <a:t>Click to add tex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a:p>
            <a:pPr lvl="1"/>
            <a:endParaRPr lang="en-US" dirty="0"/>
          </a:p>
          <a:p>
            <a:pPr lvl="1"/>
            <a:endParaRPr lang="en-US" dirty="0" err="1"/>
          </a:p>
        </p:txBody>
      </p:sp>
      <p:sp>
        <p:nvSpPr>
          <p:cNvPr id="12" name="Text Placeholder 4">
            <a:extLst>
              <a:ext uri="{FF2B5EF4-FFF2-40B4-BE49-F238E27FC236}">
                <a16:creationId xmlns:a16="http://schemas.microsoft.com/office/drawing/2014/main" id="{1A0CF29B-96BC-43D9-8AB6-6FADA9A92878}"/>
              </a:ext>
            </a:extLst>
          </p:cNvPr>
          <p:cNvSpPr>
            <a:spLocks noGrp="1"/>
          </p:cNvSpPr>
          <p:nvPr>
            <p:ph type="body" sz="quarter" idx="15" hasCustomPrompt="1"/>
          </p:nvPr>
        </p:nvSpPr>
        <p:spPr>
          <a:xfrm>
            <a:off x="4475124" y="1894991"/>
            <a:ext cx="3200400" cy="624925"/>
          </a:xfrm>
        </p:spPr>
        <p:txBody>
          <a:bodyPr anchor="b">
            <a:normAutofit/>
          </a:bodyPr>
          <a:lstStyle>
            <a:lvl1pPr marL="0" indent="0" algn="ctr">
              <a:buNone/>
              <a:defRPr sz="1800" b="1">
                <a:latin typeface="Buckeye Sans 2"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cxnSp>
        <p:nvCxnSpPr>
          <p:cNvPr id="14" name="Straight Connector 13">
            <a:extLst>
              <a:ext uri="{FF2B5EF4-FFF2-40B4-BE49-F238E27FC236}">
                <a16:creationId xmlns:a16="http://schemas.microsoft.com/office/drawing/2014/main" id="{6240F89D-2F52-4A06-A26B-F81A4CCA049C}"/>
              </a:ext>
            </a:extLst>
          </p:cNvPr>
          <p:cNvCxnSpPr>
            <a:cxnSpLocks/>
          </p:cNvCxnSpPr>
          <p:nvPr/>
        </p:nvCxnSpPr>
        <p:spPr>
          <a:xfrm flipV="1">
            <a:off x="4246764" y="2377658"/>
            <a:ext cx="0" cy="340197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6615C9D-EE6C-4B25-8C7B-BD41495EDEDC}"/>
              </a:ext>
            </a:extLst>
          </p:cNvPr>
          <p:cNvCxnSpPr>
            <a:cxnSpLocks/>
          </p:cNvCxnSpPr>
          <p:nvPr/>
        </p:nvCxnSpPr>
        <p:spPr>
          <a:xfrm flipV="1">
            <a:off x="7915362" y="2377658"/>
            <a:ext cx="0" cy="340197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670F325A-C820-6347-A10B-9DD63E3B7F2B}"/>
              </a:ext>
            </a:extLst>
          </p:cNvPr>
          <p:cNvSpPr>
            <a:spLocks noGrp="1"/>
          </p:cNvSpPr>
          <p:nvPr>
            <p:ph type="title" hasCustomPrompt="1"/>
          </p:nvPr>
        </p:nvSpPr>
        <p:spPr>
          <a:xfrm>
            <a:off x="838200" y="986042"/>
            <a:ext cx="10515600" cy="838854"/>
          </a:xfrm>
        </p:spPr>
        <p:txBody>
          <a:bodyPr anchor="t">
            <a:normAutofit/>
          </a:bodyPr>
          <a:lstStyle>
            <a:lvl1pPr>
              <a:defRPr sz="4000">
                <a:latin typeface="Buckeye Serif 2 Black" pitchFamily="2" charset="0"/>
                <a:ea typeface="Buckeye Serif 2 Black" pitchFamily="2" charset="0"/>
              </a:defRPr>
            </a:lvl1pPr>
          </a:lstStyle>
          <a:p>
            <a:r>
              <a:rPr lang="en-US" dirty="0"/>
              <a:t>Click to add title</a:t>
            </a:r>
          </a:p>
        </p:txBody>
      </p:sp>
      <p:cxnSp>
        <p:nvCxnSpPr>
          <p:cNvPr id="17" name="Straight Connector 16">
            <a:extLst>
              <a:ext uri="{FF2B5EF4-FFF2-40B4-BE49-F238E27FC236}">
                <a16:creationId xmlns:a16="http://schemas.microsoft.com/office/drawing/2014/main" id="{74D95B3B-5BE2-F245-A653-7ABF52BA55BB}"/>
              </a:ext>
            </a:extLst>
          </p:cNvPr>
          <p:cNvCxnSpPr>
            <a:cxnSpLocks/>
          </p:cNvCxnSpPr>
          <p:nvPr/>
        </p:nvCxnSpPr>
        <p:spPr>
          <a:xfrm>
            <a:off x="838200" y="801837"/>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Content Placeholder 5">
            <a:extLst>
              <a:ext uri="{FF2B5EF4-FFF2-40B4-BE49-F238E27FC236}">
                <a16:creationId xmlns:a16="http://schemas.microsoft.com/office/drawing/2014/main" id="{8687E2C7-4300-44FD-92E5-7FA9625D9824}"/>
              </a:ext>
            </a:extLst>
          </p:cNvPr>
          <p:cNvSpPr>
            <a:spLocks noGrp="1"/>
          </p:cNvSpPr>
          <p:nvPr>
            <p:ph sz="quarter" idx="16" hasCustomPrompt="1"/>
          </p:nvPr>
        </p:nvSpPr>
        <p:spPr>
          <a:xfrm>
            <a:off x="4483214" y="2706949"/>
            <a:ext cx="3200400" cy="3060729"/>
          </a:xfrm>
        </p:spPr>
        <p:txBody>
          <a:bodyPr>
            <a:normAutofit/>
          </a:bodyPr>
          <a:lstStyle>
            <a:lvl1pPr>
              <a:defRPr sz="1400">
                <a:latin typeface="Buckeye Sans 2" pitchFamily="2" charset="0"/>
              </a:defRPr>
            </a:lvl1pPr>
            <a:lvl2pPr marL="457200" indent="0">
              <a:buNone/>
              <a:defRPr sz="1400">
                <a:latin typeface="Buckeye Sans 2" pitchFamily="2" charset="0"/>
              </a:defRPr>
            </a:lvl2pPr>
            <a:lvl3pPr>
              <a:defRPr sz="1600"/>
            </a:lvl3pPr>
            <a:lvl4pPr>
              <a:defRPr sz="1400"/>
            </a:lvl4pPr>
            <a:lvl5pPr>
              <a:defRPr sz="1400"/>
            </a:lvl5pPr>
          </a:lstStyle>
          <a:p>
            <a:pPr lvl="0"/>
            <a:r>
              <a:rPr lang="en-US" dirty="0"/>
              <a:t>Click to add tex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a:p>
            <a:pPr lvl="1"/>
            <a:endParaRPr lang="en-US" dirty="0"/>
          </a:p>
          <a:p>
            <a:pPr lvl="1"/>
            <a:endParaRPr lang="en-US" dirty="0" err="1"/>
          </a:p>
        </p:txBody>
      </p:sp>
    </p:spTree>
    <p:extLst>
      <p:ext uri="{BB962C8B-B14F-4D97-AF65-F5344CB8AC3E}">
        <p14:creationId xmlns:p14="http://schemas.microsoft.com/office/powerpoint/2010/main" val="22023191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D110778-4DA8-45B3-97ED-ECBE5C60858E}"/>
              </a:ext>
            </a:extLst>
          </p:cNvPr>
          <p:cNvSpPr>
            <a:spLocks noGrp="1"/>
          </p:cNvSpPr>
          <p:nvPr>
            <p:ph type="body" idx="1" hasCustomPrompt="1"/>
          </p:nvPr>
        </p:nvSpPr>
        <p:spPr>
          <a:xfrm>
            <a:off x="839788" y="1883038"/>
            <a:ext cx="2392417" cy="636878"/>
          </a:xfrm>
        </p:spPr>
        <p:txBody>
          <a:bodyPr anchor="b">
            <a:normAutofit/>
          </a:bodyPr>
          <a:lstStyle>
            <a:lvl1pPr marL="0" indent="0" algn="ctr">
              <a:buNone/>
              <a:defRPr sz="1800" b="1">
                <a:latin typeface="Buckeye Sans 2"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4" name="Content Placeholder 3">
            <a:extLst>
              <a:ext uri="{FF2B5EF4-FFF2-40B4-BE49-F238E27FC236}">
                <a16:creationId xmlns:a16="http://schemas.microsoft.com/office/drawing/2014/main" id="{2896339C-BF56-4C01-9057-10C1041C7837}"/>
              </a:ext>
            </a:extLst>
          </p:cNvPr>
          <p:cNvSpPr>
            <a:spLocks noGrp="1"/>
          </p:cNvSpPr>
          <p:nvPr>
            <p:ph sz="half" idx="2" hasCustomPrompt="1"/>
          </p:nvPr>
        </p:nvSpPr>
        <p:spPr>
          <a:xfrm>
            <a:off x="839788" y="2706950"/>
            <a:ext cx="2392417" cy="3060729"/>
          </a:xfrm>
        </p:spPr>
        <p:txBody>
          <a:bodyPr>
            <a:normAutofit/>
          </a:bodyPr>
          <a:lstStyle>
            <a:lvl1pPr>
              <a:defRPr sz="1400">
                <a:latin typeface="Buckeye Sans 2" pitchFamily="2" charset="0"/>
              </a:defRPr>
            </a:lvl1pPr>
            <a:lvl2pPr marL="457200" indent="0">
              <a:buNone/>
              <a:defRPr sz="1400">
                <a:latin typeface="Buckeye Sans 2" pitchFamily="2" charset="0"/>
              </a:defRPr>
            </a:lvl2pPr>
            <a:lvl3pPr>
              <a:defRPr sz="1600"/>
            </a:lvl3pPr>
            <a:lvl4pPr>
              <a:defRPr sz="1400"/>
            </a:lvl4pPr>
            <a:lvl5pPr>
              <a:defRPr sz="1400"/>
            </a:lvl5pPr>
          </a:lstStyle>
          <a:p>
            <a:pPr lvl="0"/>
            <a:r>
              <a:rPr lang="en-US" dirty="0"/>
              <a:t>Click to add tex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a:p>
            <a:pPr lvl="1"/>
            <a:endParaRPr lang="en-US" dirty="0"/>
          </a:p>
          <a:p>
            <a:pPr lvl="1"/>
            <a:endParaRPr lang="en-US" dirty="0"/>
          </a:p>
          <a:p>
            <a:pPr lvl="1"/>
            <a:endParaRPr lang="en-US" dirty="0"/>
          </a:p>
        </p:txBody>
      </p:sp>
      <p:sp>
        <p:nvSpPr>
          <p:cNvPr id="16" name="Title 1">
            <a:extLst>
              <a:ext uri="{FF2B5EF4-FFF2-40B4-BE49-F238E27FC236}">
                <a16:creationId xmlns:a16="http://schemas.microsoft.com/office/drawing/2014/main" id="{670F325A-C820-6347-A10B-9DD63E3B7F2B}"/>
              </a:ext>
            </a:extLst>
          </p:cNvPr>
          <p:cNvSpPr>
            <a:spLocks noGrp="1"/>
          </p:cNvSpPr>
          <p:nvPr>
            <p:ph type="title" hasCustomPrompt="1"/>
          </p:nvPr>
        </p:nvSpPr>
        <p:spPr>
          <a:xfrm>
            <a:off x="838200" y="986042"/>
            <a:ext cx="10515600" cy="838854"/>
          </a:xfrm>
        </p:spPr>
        <p:txBody>
          <a:bodyPr anchor="t">
            <a:normAutofit/>
          </a:bodyPr>
          <a:lstStyle>
            <a:lvl1pPr>
              <a:defRPr sz="4000">
                <a:latin typeface="Buckeye Serif 2 Black" pitchFamily="2" charset="0"/>
                <a:ea typeface="Buckeye Serif 2 Black" pitchFamily="2" charset="0"/>
              </a:defRPr>
            </a:lvl1pPr>
          </a:lstStyle>
          <a:p>
            <a:r>
              <a:rPr lang="en-US" dirty="0"/>
              <a:t>Click to add title</a:t>
            </a:r>
          </a:p>
        </p:txBody>
      </p:sp>
      <p:cxnSp>
        <p:nvCxnSpPr>
          <p:cNvPr id="17" name="Straight Connector 16">
            <a:extLst>
              <a:ext uri="{FF2B5EF4-FFF2-40B4-BE49-F238E27FC236}">
                <a16:creationId xmlns:a16="http://schemas.microsoft.com/office/drawing/2014/main" id="{74D95B3B-5BE2-F245-A653-7ABF52BA55BB}"/>
              </a:ext>
            </a:extLst>
          </p:cNvPr>
          <p:cNvCxnSpPr>
            <a:cxnSpLocks/>
          </p:cNvCxnSpPr>
          <p:nvPr/>
        </p:nvCxnSpPr>
        <p:spPr>
          <a:xfrm>
            <a:off x="838200" y="801837"/>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9972714E-4FC6-4183-9F33-0A4BA32B038B}"/>
              </a:ext>
            </a:extLst>
          </p:cNvPr>
          <p:cNvSpPr>
            <a:spLocks noGrp="1"/>
          </p:cNvSpPr>
          <p:nvPr>
            <p:ph type="body" idx="10" hasCustomPrompt="1"/>
          </p:nvPr>
        </p:nvSpPr>
        <p:spPr>
          <a:xfrm>
            <a:off x="3571369" y="1883038"/>
            <a:ext cx="2392417" cy="636878"/>
          </a:xfrm>
        </p:spPr>
        <p:txBody>
          <a:bodyPr anchor="b">
            <a:normAutofit/>
          </a:bodyPr>
          <a:lstStyle>
            <a:lvl1pPr marL="0" indent="0" algn="ctr">
              <a:buNone/>
              <a:defRPr sz="1800" b="1">
                <a:latin typeface="Buckeye Sans 2"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20" name="Content Placeholder 3">
            <a:extLst>
              <a:ext uri="{FF2B5EF4-FFF2-40B4-BE49-F238E27FC236}">
                <a16:creationId xmlns:a16="http://schemas.microsoft.com/office/drawing/2014/main" id="{A19266C3-BAAC-402C-A197-3C7872B8ECAE}"/>
              </a:ext>
            </a:extLst>
          </p:cNvPr>
          <p:cNvSpPr>
            <a:spLocks noGrp="1"/>
          </p:cNvSpPr>
          <p:nvPr>
            <p:ph sz="half" idx="11" hasCustomPrompt="1"/>
          </p:nvPr>
        </p:nvSpPr>
        <p:spPr>
          <a:xfrm>
            <a:off x="3571369" y="2706950"/>
            <a:ext cx="2392417" cy="3060729"/>
          </a:xfrm>
        </p:spPr>
        <p:txBody>
          <a:bodyPr>
            <a:normAutofit/>
          </a:bodyPr>
          <a:lstStyle>
            <a:lvl1pPr>
              <a:defRPr sz="1400">
                <a:latin typeface="Buckeye Sans 2" pitchFamily="2" charset="0"/>
              </a:defRPr>
            </a:lvl1pPr>
            <a:lvl2pPr marL="457200" indent="0">
              <a:buNone/>
              <a:defRPr sz="1400">
                <a:latin typeface="Buckeye Sans 2" pitchFamily="2" charset="0"/>
              </a:defRPr>
            </a:lvl2pPr>
            <a:lvl3pPr>
              <a:defRPr sz="1600"/>
            </a:lvl3pPr>
            <a:lvl4pPr>
              <a:defRPr sz="1400"/>
            </a:lvl4pPr>
            <a:lvl5pPr>
              <a:defRPr sz="1400"/>
            </a:lvl5pPr>
          </a:lstStyle>
          <a:p>
            <a:pPr lvl="0"/>
            <a:r>
              <a:rPr lang="en-US" dirty="0"/>
              <a:t>Click to add tex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a:p>
            <a:pPr lvl="1"/>
            <a:endParaRPr lang="en-US" dirty="0"/>
          </a:p>
          <a:p>
            <a:pPr lvl="1"/>
            <a:endParaRPr lang="en-US" dirty="0"/>
          </a:p>
          <a:p>
            <a:pPr lvl="1"/>
            <a:endParaRPr lang="en-US" dirty="0"/>
          </a:p>
        </p:txBody>
      </p:sp>
      <p:sp>
        <p:nvSpPr>
          <p:cNvPr id="21" name="Text Placeholder 2">
            <a:extLst>
              <a:ext uri="{FF2B5EF4-FFF2-40B4-BE49-F238E27FC236}">
                <a16:creationId xmlns:a16="http://schemas.microsoft.com/office/drawing/2014/main" id="{E7844280-728F-4D4D-8457-C283F808094C}"/>
              </a:ext>
            </a:extLst>
          </p:cNvPr>
          <p:cNvSpPr>
            <a:spLocks noGrp="1"/>
          </p:cNvSpPr>
          <p:nvPr>
            <p:ph type="body" idx="12" hasCustomPrompt="1"/>
          </p:nvPr>
        </p:nvSpPr>
        <p:spPr>
          <a:xfrm>
            <a:off x="8973355" y="1883038"/>
            <a:ext cx="2378859" cy="636878"/>
          </a:xfr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22" name="Content Placeholder 3">
            <a:extLst>
              <a:ext uri="{FF2B5EF4-FFF2-40B4-BE49-F238E27FC236}">
                <a16:creationId xmlns:a16="http://schemas.microsoft.com/office/drawing/2014/main" id="{659CDDF3-0576-43FA-8160-7B28FBA45D87}"/>
              </a:ext>
            </a:extLst>
          </p:cNvPr>
          <p:cNvSpPr>
            <a:spLocks noGrp="1"/>
          </p:cNvSpPr>
          <p:nvPr>
            <p:ph sz="half" idx="13" hasCustomPrompt="1"/>
          </p:nvPr>
        </p:nvSpPr>
        <p:spPr>
          <a:xfrm>
            <a:off x="8973355" y="2706950"/>
            <a:ext cx="2378859" cy="3060729"/>
          </a:xfrm>
        </p:spPr>
        <p:txBody>
          <a:bodyPr>
            <a:normAutofit/>
          </a:bodyPr>
          <a:lstStyle>
            <a:lvl1pPr>
              <a:defRPr sz="1400">
                <a:latin typeface="Buckeye Sans 2" pitchFamily="2" charset="0"/>
              </a:defRPr>
            </a:lvl1pPr>
            <a:lvl2pPr marL="457200" indent="0">
              <a:buNone/>
              <a:defRPr sz="1400">
                <a:latin typeface="Buckeye Sans 2" pitchFamily="2" charset="0"/>
              </a:defRPr>
            </a:lvl2pPr>
            <a:lvl3pPr>
              <a:defRPr sz="1600"/>
            </a:lvl3pPr>
            <a:lvl4pPr>
              <a:defRPr sz="1400"/>
            </a:lvl4pPr>
            <a:lvl5pPr>
              <a:defRPr sz="1400"/>
            </a:lvl5pPr>
          </a:lstStyle>
          <a:p>
            <a:pPr lvl="0"/>
            <a:r>
              <a:rPr lang="en-US" dirty="0"/>
              <a:t>Click to add tex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a:p>
            <a:pPr lvl="1"/>
            <a:endParaRPr lang="en-US" dirty="0"/>
          </a:p>
          <a:p>
            <a:pPr lvl="1"/>
            <a:endParaRPr lang="en-US" dirty="0"/>
          </a:p>
          <a:p>
            <a:pPr lvl="1"/>
            <a:endParaRPr lang="en-US" dirty="0"/>
          </a:p>
        </p:txBody>
      </p:sp>
      <p:sp>
        <p:nvSpPr>
          <p:cNvPr id="23" name="Text Placeholder 2">
            <a:extLst>
              <a:ext uri="{FF2B5EF4-FFF2-40B4-BE49-F238E27FC236}">
                <a16:creationId xmlns:a16="http://schemas.microsoft.com/office/drawing/2014/main" id="{83741764-3982-4BA7-B3B9-6CFFE4D44A7D}"/>
              </a:ext>
            </a:extLst>
          </p:cNvPr>
          <p:cNvSpPr>
            <a:spLocks noGrp="1"/>
          </p:cNvSpPr>
          <p:nvPr>
            <p:ph type="body" idx="14" hasCustomPrompt="1"/>
          </p:nvPr>
        </p:nvSpPr>
        <p:spPr>
          <a:xfrm>
            <a:off x="6245452" y="1883038"/>
            <a:ext cx="2392417" cy="636878"/>
          </a:xfr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24" name="Content Placeholder 3">
            <a:extLst>
              <a:ext uri="{FF2B5EF4-FFF2-40B4-BE49-F238E27FC236}">
                <a16:creationId xmlns:a16="http://schemas.microsoft.com/office/drawing/2014/main" id="{E04C2F8F-81E9-4611-8AD3-87F773D6BD86}"/>
              </a:ext>
            </a:extLst>
          </p:cNvPr>
          <p:cNvSpPr>
            <a:spLocks noGrp="1"/>
          </p:cNvSpPr>
          <p:nvPr>
            <p:ph sz="half" idx="15" hasCustomPrompt="1"/>
          </p:nvPr>
        </p:nvSpPr>
        <p:spPr>
          <a:xfrm>
            <a:off x="6245452" y="2706950"/>
            <a:ext cx="2392417" cy="3060729"/>
          </a:xfrm>
        </p:spPr>
        <p:txBody>
          <a:bodyPr>
            <a:normAutofit/>
          </a:bodyPr>
          <a:lstStyle>
            <a:lvl1pPr>
              <a:defRPr sz="1400">
                <a:latin typeface="Buckeye Sans 2" pitchFamily="2" charset="0"/>
              </a:defRPr>
            </a:lvl1pPr>
            <a:lvl2pPr marL="457200" indent="0">
              <a:buNone/>
              <a:defRPr sz="1400">
                <a:latin typeface="Buckeye Sans 2" pitchFamily="2" charset="0"/>
              </a:defRPr>
            </a:lvl2pPr>
            <a:lvl3pPr>
              <a:defRPr sz="1600"/>
            </a:lvl3pPr>
            <a:lvl4pPr>
              <a:defRPr sz="1400"/>
            </a:lvl4pPr>
            <a:lvl5pPr>
              <a:defRPr sz="1400"/>
            </a:lvl5pPr>
          </a:lstStyle>
          <a:p>
            <a:pPr lvl="0"/>
            <a:r>
              <a:rPr lang="en-US" dirty="0"/>
              <a:t>Click to add tex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a:p>
            <a:pPr lvl="1"/>
            <a:endParaRPr lang="en-US" dirty="0"/>
          </a:p>
          <a:p>
            <a:pPr lvl="1"/>
            <a:endParaRPr lang="en-US" dirty="0"/>
          </a:p>
          <a:p>
            <a:pPr lvl="1"/>
            <a:endParaRPr lang="en-US" dirty="0"/>
          </a:p>
        </p:txBody>
      </p:sp>
      <p:cxnSp>
        <p:nvCxnSpPr>
          <p:cNvPr id="25" name="Straight Connector 24">
            <a:extLst>
              <a:ext uri="{FF2B5EF4-FFF2-40B4-BE49-F238E27FC236}">
                <a16:creationId xmlns:a16="http://schemas.microsoft.com/office/drawing/2014/main" id="{82C708FC-9677-4535-953D-37E8015317F7}"/>
              </a:ext>
            </a:extLst>
          </p:cNvPr>
          <p:cNvCxnSpPr>
            <a:cxnSpLocks/>
          </p:cNvCxnSpPr>
          <p:nvPr userDrawn="1"/>
        </p:nvCxnSpPr>
        <p:spPr>
          <a:xfrm flipV="1">
            <a:off x="3395974" y="2377658"/>
            <a:ext cx="0" cy="340197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5BD3637-CC81-4597-AB9F-88F5F719A747}"/>
              </a:ext>
            </a:extLst>
          </p:cNvPr>
          <p:cNvCxnSpPr>
            <a:cxnSpLocks/>
          </p:cNvCxnSpPr>
          <p:nvPr userDrawn="1"/>
        </p:nvCxnSpPr>
        <p:spPr>
          <a:xfrm flipV="1">
            <a:off x="6096000" y="2377658"/>
            <a:ext cx="0" cy="340197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F6FD665-B560-495E-9D75-1F6521155BF7}"/>
              </a:ext>
            </a:extLst>
          </p:cNvPr>
          <p:cNvCxnSpPr>
            <a:cxnSpLocks/>
          </p:cNvCxnSpPr>
          <p:nvPr userDrawn="1"/>
        </p:nvCxnSpPr>
        <p:spPr>
          <a:xfrm flipV="1">
            <a:off x="8818764" y="2377658"/>
            <a:ext cx="0" cy="340197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322390"/>
      </p:ext>
    </p:extLst>
  </p:cSld>
  <p:clrMapOvr>
    <a:masterClrMapping/>
  </p:clrMapOvr>
  <p:extLst>
    <p:ext uri="{DCECCB84-F9BA-43D5-87BE-67443E8EF086}">
      <p15:sldGuideLst xmlns:p15="http://schemas.microsoft.com/office/powerpoint/2012/main">
        <p15:guide id="1" orient="horz" pos="4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atistics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5C1AF12-65D7-4CCC-B876-272178DEF7BB}"/>
              </a:ext>
            </a:extLst>
          </p:cNvPr>
          <p:cNvSpPr>
            <a:spLocks noGrp="1"/>
          </p:cNvSpPr>
          <p:nvPr>
            <p:ph type="body" sz="quarter" idx="13" hasCustomPrompt="1"/>
          </p:nvPr>
        </p:nvSpPr>
        <p:spPr>
          <a:xfrm>
            <a:off x="815975" y="2178050"/>
            <a:ext cx="3200400" cy="1555750"/>
          </a:xfrm>
        </p:spPr>
        <p:txBody>
          <a:bodyPr anchor="ctr" anchorCtr="0">
            <a:noAutofit/>
          </a:bodyPr>
          <a:lstStyle>
            <a:lvl1pPr marL="0" indent="0" algn="ctr">
              <a:buNone/>
              <a:defRPr sz="7500">
                <a:latin typeface="Buckeye Serif 2 SemiBold" pitchFamily="2" charset="0"/>
                <a:ea typeface="Buckeye Serif 2 SemiBold" pitchFamily="2" charset="0"/>
              </a:defRPr>
            </a:lvl1pPr>
          </a:lstStyle>
          <a:p>
            <a:pPr lvl="0"/>
            <a:r>
              <a:rPr lang="en-US" dirty="0"/>
              <a:t>00</a:t>
            </a:r>
          </a:p>
        </p:txBody>
      </p:sp>
      <p:cxnSp>
        <p:nvCxnSpPr>
          <p:cNvPr id="11" name="Straight Connector 10">
            <a:extLst>
              <a:ext uri="{FF2B5EF4-FFF2-40B4-BE49-F238E27FC236}">
                <a16:creationId xmlns:a16="http://schemas.microsoft.com/office/drawing/2014/main" id="{F978A9C5-0FEF-4CDF-8E0D-77B2B3787EB1}"/>
              </a:ext>
            </a:extLst>
          </p:cNvPr>
          <p:cNvCxnSpPr>
            <a:cxnSpLocks/>
          </p:cNvCxnSpPr>
          <p:nvPr userDrawn="1"/>
        </p:nvCxnSpPr>
        <p:spPr>
          <a:xfrm>
            <a:off x="2117969" y="3771508"/>
            <a:ext cx="548640" cy="0"/>
          </a:xfrm>
          <a:prstGeom prst="line">
            <a:avLst/>
          </a:prstGeom>
          <a:ln w="79375">
            <a:solidFill>
              <a:srgbClr val="BA0C2F"/>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A31E8251-4870-40ED-8F84-F3F4065F8BED}"/>
              </a:ext>
            </a:extLst>
          </p:cNvPr>
          <p:cNvSpPr>
            <a:spLocks noGrp="1"/>
          </p:cNvSpPr>
          <p:nvPr>
            <p:ph type="body" sz="quarter" idx="21" hasCustomPrompt="1"/>
          </p:nvPr>
        </p:nvSpPr>
        <p:spPr>
          <a:xfrm>
            <a:off x="815983" y="4133426"/>
            <a:ext cx="3200400" cy="296986"/>
          </a:xfrm>
        </p:spPr>
        <p:txBody>
          <a:bodyPr anchor="b">
            <a:noAutofit/>
          </a:bodyPr>
          <a:lstStyle>
            <a:lvl1pPr marL="0" indent="0" algn="ctr">
              <a:buNone/>
              <a:defRPr sz="1400" b="1">
                <a:latin typeface="Buckeye Sans 2"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HEADING</a:t>
            </a:r>
          </a:p>
        </p:txBody>
      </p:sp>
      <p:sp>
        <p:nvSpPr>
          <p:cNvPr id="13" name="Content Placeholder 3">
            <a:extLst>
              <a:ext uri="{FF2B5EF4-FFF2-40B4-BE49-F238E27FC236}">
                <a16:creationId xmlns:a16="http://schemas.microsoft.com/office/drawing/2014/main" id="{C921F103-A52D-4BF8-A426-261D45BC06E9}"/>
              </a:ext>
            </a:extLst>
          </p:cNvPr>
          <p:cNvSpPr>
            <a:spLocks noGrp="1"/>
          </p:cNvSpPr>
          <p:nvPr>
            <p:ph sz="half" idx="22" hasCustomPrompt="1"/>
          </p:nvPr>
        </p:nvSpPr>
        <p:spPr>
          <a:xfrm>
            <a:off x="815976" y="4430412"/>
            <a:ext cx="3200400" cy="754756"/>
          </a:xfrm>
        </p:spPr>
        <p:txBody>
          <a:bodyPr>
            <a:noAutofit/>
          </a:bodyPr>
          <a:lstStyle>
            <a:lvl1pPr marL="0" indent="0" algn="ctr">
              <a:buNone/>
              <a:defRPr sz="1400">
                <a:latin typeface="Buckeye Sans 2" pitchFamily="2" charset="0"/>
              </a:defRPr>
            </a:lvl1pPr>
            <a:lvl2pPr marL="457200" indent="0">
              <a:buNone/>
              <a:defRPr sz="1400"/>
            </a:lvl2pPr>
            <a:lvl3pPr marL="914400" indent="0">
              <a:buNone/>
              <a:defRPr sz="1200"/>
            </a:lvl3pPr>
            <a:lvl4pPr marL="1371600" indent="0">
              <a:buNone/>
              <a:defRPr sz="1100"/>
            </a:lvl4pPr>
            <a:lvl5pPr marL="1828800" indent="0" algn="ctr">
              <a:buNone/>
              <a:defRPr sz="1100"/>
            </a:lvl5pPr>
          </a:lstStyle>
          <a:p>
            <a:pPr lvl="0"/>
            <a:r>
              <a:rPr lang="en-US" dirty="0"/>
              <a:t>Click to add text</a:t>
            </a:r>
          </a:p>
        </p:txBody>
      </p:sp>
      <p:sp>
        <p:nvSpPr>
          <p:cNvPr id="17" name="Text Placeholder 7">
            <a:extLst>
              <a:ext uri="{FF2B5EF4-FFF2-40B4-BE49-F238E27FC236}">
                <a16:creationId xmlns:a16="http://schemas.microsoft.com/office/drawing/2014/main" id="{47B445D7-04D9-4518-A91A-395D959AA54D}"/>
              </a:ext>
            </a:extLst>
          </p:cNvPr>
          <p:cNvSpPr>
            <a:spLocks noGrp="1"/>
          </p:cNvSpPr>
          <p:nvPr>
            <p:ph type="body" sz="quarter" idx="23" hasCustomPrompt="1"/>
          </p:nvPr>
        </p:nvSpPr>
        <p:spPr>
          <a:xfrm>
            <a:off x="4362024" y="2178050"/>
            <a:ext cx="3200400" cy="1555750"/>
          </a:xfrm>
        </p:spPr>
        <p:txBody>
          <a:bodyPr anchor="ctr" anchorCtr="0">
            <a:noAutofit/>
          </a:bodyPr>
          <a:lstStyle>
            <a:lvl1pPr marL="0" indent="0" algn="ctr">
              <a:buNone/>
              <a:defRPr sz="7500">
                <a:latin typeface="Buckeye Serif 2 SemiBold" pitchFamily="2" charset="0"/>
                <a:ea typeface="Buckeye Serif 2 SemiBold" pitchFamily="2" charset="0"/>
              </a:defRPr>
            </a:lvl1pPr>
          </a:lstStyle>
          <a:p>
            <a:pPr lvl="0"/>
            <a:r>
              <a:rPr lang="en-US" dirty="0"/>
              <a:t>00</a:t>
            </a:r>
          </a:p>
        </p:txBody>
      </p:sp>
      <p:cxnSp>
        <p:nvCxnSpPr>
          <p:cNvPr id="18" name="Straight Connector 17">
            <a:extLst>
              <a:ext uri="{FF2B5EF4-FFF2-40B4-BE49-F238E27FC236}">
                <a16:creationId xmlns:a16="http://schemas.microsoft.com/office/drawing/2014/main" id="{5F2A72AE-B0BA-451A-A298-6F08D46BE149}"/>
              </a:ext>
            </a:extLst>
          </p:cNvPr>
          <p:cNvCxnSpPr>
            <a:cxnSpLocks/>
          </p:cNvCxnSpPr>
          <p:nvPr userDrawn="1"/>
        </p:nvCxnSpPr>
        <p:spPr>
          <a:xfrm>
            <a:off x="5720579" y="3771508"/>
            <a:ext cx="548640" cy="0"/>
          </a:xfrm>
          <a:prstGeom prst="line">
            <a:avLst/>
          </a:prstGeom>
          <a:ln w="79375">
            <a:solidFill>
              <a:srgbClr val="BA0C2F"/>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544B66B5-8A11-414B-BD6A-3CA8D49CDAC9}"/>
              </a:ext>
            </a:extLst>
          </p:cNvPr>
          <p:cNvSpPr>
            <a:spLocks noGrp="1"/>
          </p:cNvSpPr>
          <p:nvPr>
            <p:ph type="body" sz="quarter" idx="24" hasCustomPrompt="1"/>
          </p:nvPr>
        </p:nvSpPr>
        <p:spPr>
          <a:xfrm>
            <a:off x="4362032" y="4133426"/>
            <a:ext cx="3200400" cy="296986"/>
          </a:xfrm>
        </p:spPr>
        <p:txBody>
          <a:bodyPr anchor="b">
            <a:noAutofit/>
          </a:bodyPr>
          <a:lstStyle>
            <a:lvl1pPr marL="0" indent="0" algn="ctr">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HEADING</a:t>
            </a:r>
          </a:p>
        </p:txBody>
      </p:sp>
      <p:sp>
        <p:nvSpPr>
          <p:cNvPr id="20" name="Content Placeholder 3">
            <a:extLst>
              <a:ext uri="{FF2B5EF4-FFF2-40B4-BE49-F238E27FC236}">
                <a16:creationId xmlns:a16="http://schemas.microsoft.com/office/drawing/2014/main" id="{9B83ED64-7985-4721-920B-54BC42A5E1D7}"/>
              </a:ext>
            </a:extLst>
          </p:cNvPr>
          <p:cNvSpPr>
            <a:spLocks noGrp="1"/>
          </p:cNvSpPr>
          <p:nvPr>
            <p:ph sz="half" idx="25" hasCustomPrompt="1"/>
          </p:nvPr>
        </p:nvSpPr>
        <p:spPr>
          <a:xfrm>
            <a:off x="4362025" y="4430412"/>
            <a:ext cx="3200400" cy="754756"/>
          </a:xfrm>
        </p:spPr>
        <p:txBody>
          <a:bodyPr>
            <a:noAutofit/>
          </a:bodyPr>
          <a:lstStyle>
            <a:lvl1pPr marL="0" indent="0" algn="ctr">
              <a:buNone/>
              <a:defRPr sz="1400"/>
            </a:lvl1pPr>
            <a:lvl2pPr marL="457200" indent="0">
              <a:buNone/>
              <a:defRPr sz="1400"/>
            </a:lvl2pPr>
            <a:lvl3pPr marL="914400" indent="0">
              <a:buNone/>
              <a:defRPr sz="1200"/>
            </a:lvl3pPr>
            <a:lvl4pPr marL="1371600" indent="0">
              <a:buNone/>
              <a:defRPr sz="1100"/>
            </a:lvl4pPr>
            <a:lvl5pPr marL="1828800" indent="0" algn="ctr">
              <a:buNone/>
              <a:defRPr sz="1100"/>
            </a:lvl5pPr>
          </a:lstStyle>
          <a:p>
            <a:pPr lvl="0"/>
            <a:r>
              <a:rPr lang="en-US" dirty="0"/>
              <a:t>Click to add text</a:t>
            </a:r>
          </a:p>
        </p:txBody>
      </p:sp>
      <p:sp>
        <p:nvSpPr>
          <p:cNvPr id="21" name="Text Placeholder 7">
            <a:extLst>
              <a:ext uri="{FF2B5EF4-FFF2-40B4-BE49-F238E27FC236}">
                <a16:creationId xmlns:a16="http://schemas.microsoft.com/office/drawing/2014/main" id="{48CFB95A-0D9D-453A-9CB2-BF05EF3E7A0C}"/>
              </a:ext>
            </a:extLst>
          </p:cNvPr>
          <p:cNvSpPr>
            <a:spLocks noGrp="1"/>
          </p:cNvSpPr>
          <p:nvPr>
            <p:ph type="body" sz="quarter" idx="26" hasCustomPrompt="1"/>
          </p:nvPr>
        </p:nvSpPr>
        <p:spPr>
          <a:xfrm>
            <a:off x="7908066" y="2178050"/>
            <a:ext cx="3200400" cy="1555750"/>
          </a:xfrm>
        </p:spPr>
        <p:txBody>
          <a:bodyPr anchor="ctr" anchorCtr="0">
            <a:noAutofit/>
          </a:bodyPr>
          <a:lstStyle>
            <a:lvl1pPr marL="0" indent="0" algn="ctr">
              <a:buNone/>
              <a:defRPr sz="7500">
                <a:latin typeface="Buckeye Serif 2 SemiBold" pitchFamily="2" charset="0"/>
                <a:ea typeface="Buckeye Serif 2 SemiBold" pitchFamily="2" charset="0"/>
              </a:defRPr>
            </a:lvl1pPr>
          </a:lstStyle>
          <a:p>
            <a:pPr lvl="0"/>
            <a:r>
              <a:rPr lang="en-US" dirty="0"/>
              <a:t>00</a:t>
            </a:r>
          </a:p>
        </p:txBody>
      </p:sp>
      <p:cxnSp>
        <p:nvCxnSpPr>
          <p:cNvPr id="22" name="Straight Connector 21">
            <a:extLst>
              <a:ext uri="{FF2B5EF4-FFF2-40B4-BE49-F238E27FC236}">
                <a16:creationId xmlns:a16="http://schemas.microsoft.com/office/drawing/2014/main" id="{6F95B02B-287E-4902-9AF6-04C885FA6DD1}"/>
              </a:ext>
            </a:extLst>
          </p:cNvPr>
          <p:cNvCxnSpPr>
            <a:cxnSpLocks/>
          </p:cNvCxnSpPr>
          <p:nvPr userDrawn="1"/>
        </p:nvCxnSpPr>
        <p:spPr>
          <a:xfrm>
            <a:off x="9276048" y="3771508"/>
            <a:ext cx="548640" cy="0"/>
          </a:xfrm>
          <a:prstGeom prst="line">
            <a:avLst/>
          </a:prstGeom>
          <a:ln w="79375">
            <a:solidFill>
              <a:srgbClr val="BA0C2F"/>
            </a:solidFill>
          </a:ln>
        </p:spPr>
        <p:style>
          <a:lnRef idx="1">
            <a:schemeClr val="accent1"/>
          </a:lnRef>
          <a:fillRef idx="0">
            <a:schemeClr val="accent1"/>
          </a:fillRef>
          <a:effectRef idx="0">
            <a:schemeClr val="accent1"/>
          </a:effectRef>
          <a:fontRef idx="minor">
            <a:schemeClr val="tx1"/>
          </a:fontRef>
        </p:style>
      </p:cxnSp>
      <p:sp>
        <p:nvSpPr>
          <p:cNvPr id="23" name="Text Placeholder 4">
            <a:extLst>
              <a:ext uri="{FF2B5EF4-FFF2-40B4-BE49-F238E27FC236}">
                <a16:creationId xmlns:a16="http://schemas.microsoft.com/office/drawing/2014/main" id="{D79EC675-E9A3-4C03-B61F-A49031FA5008}"/>
              </a:ext>
            </a:extLst>
          </p:cNvPr>
          <p:cNvSpPr>
            <a:spLocks noGrp="1"/>
          </p:cNvSpPr>
          <p:nvPr>
            <p:ph type="body" sz="quarter" idx="27" hasCustomPrompt="1"/>
          </p:nvPr>
        </p:nvSpPr>
        <p:spPr>
          <a:xfrm>
            <a:off x="7908074" y="4133426"/>
            <a:ext cx="3200400" cy="296986"/>
          </a:xfrm>
        </p:spPr>
        <p:txBody>
          <a:bodyPr anchor="b">
            <a:noAutofit/>
          </a:bodyPr>
          <a:lstStyle>
            <a:lvl1pPr marL="0" indent="0" algn="ctr">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HEADING</a:t>
            </a:r>
          </a:p>
        </p:txBody>
      </p:sp>
      <p:sp>
        <p:nvSpPr>
          <p:cNvPr id="24" name="Content Placeholder 3">
            <a:extLst>
              <a:ext uri="{FF2B5EF4-FFF2-40B4-BE49-F238E27FC236}">
                <a16:creationId xmlns:a16="http://schemas.microsoft.com/office/drawing/2014/main" id="{B8429F79-518E-407C-8FF2-83D7C7D801FD}"/>
              </a:ext>
            </a:extLst>
          </p:cNvPr>
          <p:cNvSpPr>
            <a:spLocks noGrp="1"/>
          </p:cNvSpPr>
          <p:nvPr>
            <p:ph sz="half" idx="28" hasCustomPrompt="1"/>
          </p:nvPr>
        </p:nvSpPr>
        <p:spPr>
          <a:xfrm>
            <a:off x="7908067" y="4430412"/>
            <a:ext cx="3200400" cy="754756"/>
          </a:xfrm>
        </p:spPr>
        <p:txBody>
          <a:bodyPr>
            <a:noAutofit/>
          </a:bodyPr>
          <a:lstStyle>
            <a:lvl1pPr marL="0" indent="0" algn="ctr">
              <a:buNone/>
              <a:defRPr sz="1400"/>
            </a:lvl1pPr>
            <a:lvl2pPr marL="457200" indent="0">
              <a:buNone/>
              <a:defRPr sz="1400"/>
            </a:lvl2pPr>
            <a:lvl3pPr marL="914400" indent="0">
              <a:buNone/>
              <a:defRPr sz="1200"/>
            </a:lvl3pPr>
            <a:lvl4pPr marL="1371600" indent="0">
              <a:buNone/>
              <a:defRPr sz="1100"/>
            </a:lvl4pPr>
            <a:lvl5pPr marL="1828800" indent="0" algn="ctr">
              <a:buNone/>
              <a:defRPr sz="1100"/>
            </a:lvl5pPr>
          </a:lstStyle>
          <a:p>
            <a:pPr lvl="0"/>
            <a:r>
              <a:rPr lang="en-US" dirty="0"/>
              <a:t>Click to add text</a:t>
            </a:r>
          </a:p>
        </p:txBody>
      </p:sp>
      <p:sp>
        <p:nvSpPr>
          <p:cNvPr id="25" name="Title 1">
            <a:extLst>
              <a:ext uri="{FF2B5EF4-FFF2-40B4-BE49-F238E27FC236}">
                <a16:creationId xmlns:a16="http://schemas.microsoft.com/office/drawing/2014/main" id="{784EC54A-1238-054A-B123-4E089148A05A}"/>
              </a:ext>
            </a:extLst>
          </p:cNvPr>
          <p:cNvSpPr>
            <a:spLocks noGrp="1"/>
          </p:cNvSpPr>
          <p:nvPr>
            <p:ph type="title" hasCustomPrompt="1"/>
          </p:nvPr>
        </p:nvSpPr>
        <p:spPr>
          <a:xfrm>
            <a:off x="838200" y="986042"/>
            <a:ext cx="10515600" cy="838854"/>
          </a:xfrm>
        </p:spPr>
        <p:txBody>
          <a:bodyPr anchor="t">
            <a:normAutofit/>
          </a:bodyPr>
          <a:lstStyle>
            <a:lvl1pPr>
              <a:defRPr sz="4000">
                <a:latin typeface="Buckeye Serif 2 Black" pitchFamily="2" charset="0"/>
                <a:ea typeface="Buckeye Serif 2 Black" pitchFamily="2" charset="0"/>
              </a:defRPr>
            </a:lvl1pPr>
          </a:lstStyle>
          <a:p>
            <a:r>
              <a:rPr lang="en-US" dirty="0"/>
              <a:t>Click to add title</a:t>
            </a:r>
          </a:p>
        </p:txBody>
      </p:sp>
      <p:cxnSp>
        <p:nvCxnSpPr>
          <p:cNvPr id="26" name="Straight Connector 25">
            <a:extLst>
              <a:ext uri="{FF2B5EF4-FFF2-40B4-BE49-F238E27FC236}">
                <a16:creationId xmlns:a16="http://schemas.microsoft.com/office/drawing/2014/main" id="{2FB88219-839E-554B-B72F-F7177AF5404C}"/>
              </a:ext>
            </a:extLst>
          </p:cNvPr>
          <p:cNvCxnSpPr>
            <a:cxnSpLocks/>
          </p:cNvCxnSpPr>
          <p:nvPr userDrawn="1"/>
        </p:nvCxnSpPr>
        <p:spPr>
          <a:xfrm>
            <a:off x="838200" y="801837"/>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1614483"/>
      </p:ext>
    </p:extLst>
  </p:cSld>
  <p:clrMapOvr>
    <a:masterClrMapping/>
  </p:clrMapOvr>
  <p:extLst>
    <p:ext uri="{DCECCB84-F9BA-43D5-87BE-67443E8EF086}">
      <p15:sldGuideLst xmlns:p15="http://schemas.microsoft.com/office/powerpoint/2012/main">
        <p15:guide id="1" orient="horz" pos="4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BF50D38-5438-F344-9475-34794C400424}"/>
              </a:ext>
            </a:extLst>
          </p:cNvPr>
          <p:cNvSpPr>
            <a:spLocks noGrp="1"/>
          </p:cNvSpPr>
          <p:nvPr>
            <p:ph type="title" hasCustomPrompt="1"/>
          </p:nvPr>
        </p:nvSpPr>
        <p:spPr>
          <a:xfrm>
            <a:off x="838200" y="986042"/>
            <a:ext cx="10515600" cy="838854"/>
          </a:xfrm>
        </p:spPr>
        <p:txBody>
          <a:bodyPr anchor="t"/>
          <a:lstStyle>
            <a:lvl1pPr>
              <a:defRPr/>
            </a:lvl1pPr>
          </a:lstStyle>
          <a:p>
            <a:r>
              <a:rPr lang="en-US" dirty="0"/>
              <a:t>Click to add title</a:t>
            </a:r>
          </a:p>
        </p:txBody>
      </p:sp>
      <p:cxnSp>
        <p:nvCxnSpPr>
          <p:cNvPr id="7" name="Straight Connector 6">
            <a:extLst>
              <a:ext uri="{FF2B5EF4-FFF2-40B4-BE49-F238E27FC236}">
                <a16:creationId xmlns:a16="http://schemas.microsoft.com/office/drawing/2014/main" id="{4A08DB35-EBE4-7D47-B3CA-C94ADD2F76D2}"/>
              </a:ext>
            </a:extLst>
          </p:cNvPr>
          <p:cNvCxnSpPr>
            <a:cxnSpLocks/>
          </p:cNvCxnSpPr>
          <p:nvPr/>
        </p:nvCxnSpPr>
        <p:spPr>
          <a:xfrm>
            <a:off x="838200" y="801837"/>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83647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acts and Figures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9CF42-CFB0-4813-AFA8-72E0DF893747}"/>
              </a:ext>
            </a:extLst>
          </p:cNvPr>
          <p:cNvSpPr>
            <a:spLocks noGrp="1"/>
          </p:cNvSpPr>
          <p:nvPr>
            <p:ph type="title" hasCustomPrompt="1"/>
          </p:nvPr>
        </p:nvSpPr>
        <p:spPr>
          <a:xfrm>
            <a:off x="839789" y="2332273"/>
            <a:ext cx="3637944" cy="1325563"/>
          </a:xfrm>
        </p:spPr>
        <p:txBody>
          <a:bodyPr anchor="t"/>
          <a:lstStyle>
            <a:lvl1pPr>
              <a:defRPr/>
            </a:lvl1pPr>
          </a:lstStyle>
          <a:p>
            <a:r>
              <a:rPr lang="en-US" dirty="0"/>
              <a:t>Click to add title</a:t>
            </a:r>
          </a:p>
        </p:txBody>
      </p:sp>
      <p:sp>
        <p:nvSpPr>
          <p:cNvPr id="4" name="Content Placeholder 3">
            <a:extLst>
              <a:ext uri="{FF2B5EF4-FFF2-40B4-BE49-F238E27FC236}">
                <a16:creationId xmlns:a16="http://schemas.microsoft.com/office/drawing/2014/main" id="{2896339C-BF56-4C01-9057-10C1041C7837}"/>
              </a:ext>
            </a:extLst>
          </p:cNvPr>
          <p:cNvSpPr>
            <a:spLocks noGrp="1"/>
          </p:cNvSpPr>
          <p:nvPr>
            <p:ph sz="half" idx="2" hasCustomPrompt="1"/>
          </p:nvPr>
        </p:nvSpPr>
        <p:spPr>
          <a:xfrm>
            <a:off x="839789" y="3761295"/>
            <a:ext cx="3637944" cy="2428368"/>
          </a:xfrm>
        </p:spPr>
        <p:txBody>
          <a:bodyPr>
            <a:normAutofit/>
          </a:bodyPr>
          <a:lstStyle>
            <a:lvl1pPr marL="0" indent="0">
              <a:buNone/>
              <a:defRPr sz="1600"/>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dirty="0"/>
              <a:t>Click to add text</a:t>
            </a:r>
          </a:p>
        </p:txBody>
      </p:sp>
      <p:cxnSp>
        <p:nvCxnSpPr>
          <p:cNvPr id="11" name="Straight Connector 10" descr="Title ornament - do not edit.">
            <a:extLst>
              <a:ext uri="{FF2B5EF4-FFF2-40B4-BE49-F238E27FC236}">
                <a16:creationId xmlns:a16="http://schemas.microsoft.com/office/drawing/2014/main" id="{5F33B443-BC15-456F-A843-6F23BCE2348A}"/>
              </a:ext>
            </a:extLst>
          </p:cNvPr>
          <p:cNvCxnSpPr>
            <a:cxnSpLocks/>
          </p:cNvCxnSpPr>
          <p:nvPr/>
        </p:nvCxnSpPr>
        <p:spPr>
          <a:xfrm>
            <a:off x="839789" y="2060409"/>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5">
            <a:extLst>
              <a:ext uri="{FF2B5EF4-FFF2-40B4-BE49-F238E27FC236}">
                <a16:creationId xmlns:a16="http://schemas.microsoft.com/office/drawing/2014/main" id="{24741698-1EA8-4DF2-A15B-888E9D74BDA6}"/>
              </a:ext>
            </a:extLst>
          </p:cNvPr>
          <p:cNvSpPr>
            <a:spLocks noGrp="1"/>
          </p:cNvSpPr>
          <p:nvPr>
            <p:ph sz="quarter" idx="15" hasCustomPrompt="1"/>
          </p:nvPr>
        </p:nvSpPr>
        <p:spPr>
          <a:xfrm>
            <a:off x="4579938" y="2332038"/>
            <a:ext cx="6608762" cy="3857625"/>
          </a:xfrm>
        </p:spPr>
        <p:txBody>
          <a:bodyPr>
            <a:normAutofit/>
          </a:bodyPr>
          <a:lstStyle>
            <a:lvl1pPr>
              <a:defRPr sz="1800">
                <a:latin typeface="Buckeye Sans 2" pitchFamily="2" charset="0"/>
              </a:defRPr>
            </a:lvl1pPr>
            <a:lvl2pPr>
              <a:defRPr sz="1800"/>
            </a:lvl2pPr>
          </a:lstStyle>
          <a:p>
            <a:pPr lvl="0"/>
            <a:r>
              <a:rPr lang="en-US" dirty="0"/>
              <a:t>Click to add a chart or tabl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p:txBody>
      </p:sp>
    </p:spTree>
    <p:extLst>
      <p:ext uri="{BB962C8B-B14F-4D97-AF65-F5344CB8AC3E}">
        <p14:creationId xmlns:p14="http://schemas.microsoft.com/office/powerpoint/2010/main" val="36414621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acts and Figures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9CF42-CFB0-4813-AFA8-72E0DF893747}"/>
              </a:ext>
            </a:extLst>
          </p:cNvPr>
          <p:cNvSpPr>
            <a:spLocks noGrp="1"/>
          </p:cNvSpPr>
          <p:nvPr>
            <p:ph type="title" hasCustomPrompt="1"/>
          </p:nvPr>
        </p:nvSpPr>
        <p:spPr>
          <a:xfrm>
            <a:off x="839789" y="1050125"/>
            <a:ext cx="3637944" cy="1325563"/>
          </a:xfrm>
        </p:spPr>
        <p:txBody>
          <a:bodyPr anchor="t"/>
          <a:lstStyle>
            <a:lvl1pPr>
              <a:defRPr/>
            </a:lvl1pPr>
          </a:lstStyle>
          <a:p>
            <a:r>
              <a:rPr lang="en-US" dirty="0"/>
              <a:t>Click to add title</a:t>
            </a:r>
          </a:p>
        </p:txBody>
      </p:sp>
      <p:sp>
        <p:nvSpPr>
          <p:cNvPr id="4" name="Content Placeholder 3">
            <a:extLst>
              <a:ext uri="{FF2B5EF4-FFF2-40B4-BE49-F238E27FC236}">
                <a16:creationId xmlns:a16="http://schemas.microsoft.com/office/drawing/2014/main" id="{2896339C-BF56-4C01-9057-10C1041C7837}"/>
              </a:ext>
            </a:extLst>
          </p:cNvPr>
          <p:cNvSpPr>
            <a:spLocks noGrp="1"/>
          </p:cNvSpPr>
          <p:nvPr>
            <p:ph sz="half" idx="2" hasCustomPrompt="1"/>
          </p:nvPr>
        </p:nvSpPr>
        <p:spPr>
          <a:xfrm>
            <a:off x="839789" y="2479146"/>
            <a:ext cx="3637944" cy="3710517"/>
          </a:xfrm>
        </p:spPr>
        <p:txBody>
          <a:bodyPr>
            <a:normAutofit/>
          </a:bodyPr>
          <a:lstStyle>
            <a:lvl1pPr marL="0" indent="0">
              <a:buNone/>
              <a:defRPr sz="1600"/>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dirty="0"/>
              <a:t>Click to add text</a:t>
            </a:r>
          </a:p>
        </p:txBody>
      </p:sp>
      <p:cxnSp>
        <p:nvCxnSpPr>
          <p:cNvPr id="11" name="Straight Connector 10" descr="Title ornament - do not edit.">
            <a:extLst>
              <a:ext uri="{FF2B5EF4-FFF2-40B4-BE49-F238E27FC236}">
                <a16:creationId xmlns:a16="http://schemas.microsoft.com/office/drawing/2014/main" id="{5F33B443-BC15-456F-A843-6F23BCE2348A}"/>
              </a:ext>
            </a:extLst>
          </p:cNvPr>
          <p:cNvCxnSpPr>
            <a:cxnSpLocks/>
          </p:cNvCxnSpPr>
          <p:nvPr/>
        </p:nvCxnSpPr>
        <p:spPr>
          <a:xfrm>
            <a:off x="839789" y="778261"/>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5">
            <a:extLst>
              <a:ext uri="{FF2B5EF4-FFF2-40B4-BE49-F238E27FC236}">
                <a16:creationId xmlns:a16="http://schemas.microsoft.com/office/drawing/2014/main" id="{24741698-1EA8-4DF2-A15B-888E9D74BDA6}"/>
              </a:ext>
            </a:extLst>
          </p:cNvPr>
          <p:cNvSpPr>
            <a:spLocks noGrp="1"/>
          </p:cNvSpPr>
          <p:nvPr>
            <p:ph sz="quarter" idx="15" hasCustomPrompt="1"/>
          </p:nvPr>
        </p:nvSpPr>
        <p:spPr>
          <a:xfrm>
            <a:off x="4579938" y="1050126"/>
            <a:ext cx="6608762" cy="5139538"/>
          </a:xfrm>
        </p:spPr>
        <p:txBody>
          <a:bodyPr>
            <a:normAutofit/>
          </a:bodyPr>
          <a:lstStyle>
            <a:lvl1pPr>
              <a:defRPr sz="1800">
                <a:latin typeface="Buckeye Sans 2" pitchFamily="2" charset="0"/>
              </a:defRPr>
            </a:lvl1pPr>
            <a:lvl2pPr>
              <a:defRPr sz="1800"/>
            </a:lvl2pPr>
          </a:lstStyle>
          <a:p>
            <a:pPr lvl="0"/>
            <a:r>
              <a:rPr lang="en-US" dirty="0"/>
              <a:t>Click to add a chart or tabl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p:txBody>
      </p:sp>
    </p:spTree>
    <p:extLst>
      <p:ext uri="{BB962C8B-B14F-4D97-AF65-F5344CB8AC3E}">
        <p14:creationId xmlns:p14="http://schemas.microsoft.com/office/powerpoint/2010/main" val="1472112679"/>
      </p:ext>
    </p:extLst>
  </p:cSld>
  <p:clrMapOvr>
    <a:masterClrMapping/>
  </p:clrMapOvr>
  <p:extLst>
    <p:ext uri="{DCECCB84-F9BA-43D5-87BE-67443E8EF086}">
      <p15:sldGuideLst xmlns:p15="http://schemas.microsoft.com/office/powerpoint/2012/main">
        <p15:guide id="1" orient="horz" pos="388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ent with 3 Pictures">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F8BB7286-594A-4C7F-91C3-90AF74F810BF}"/>
              </a:ext>
            </a:extLst>
          </p:cNvPr>
          <p:cNvSpPr>
            <a:spLocks noGrp="1"/>
          </p:cNvSpPr>
          <p:nvPr>
            <p:ph sz="half" idx="13" hasCustomPrompt="1"/>
          </p:nvPr>
        </p:nvSpPr>
        <p:spPr>
          <a:xfrm>
            <a:off x="5856551" y="3242820"/>
            <a:ext cx="5441197" cy="2889393"/>
          </a:xfrm>
        </p:spPr>
        <p:txBody>
          <a:bodyPr>
            <a:normAutofit/>
          </a:bodyPr>
          <a:lstStyle>
            <a:lvl1pPr marL="0" indent="0">
              <a:buNone/>
              <a:defRPr sz="1600"/>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dirty="0"/>
              <a:t>Click to add text</a:t>
            </a:r>
          </a:p>
        </p:txBody>
      </p:sp>
      <p:cxnSp>
        <p:nvCxnSpPr>
          <p:cNvPr id="14" name="Straight Connector 13">
            <a:extLst>
              <a:ext uri="{FF2B5EF4-FFF2-40B4-BE49-F238E27FC236}">
                <a16:creationId xmlns:a16="http://schemas.microsoft.com/office/drawing/2014/main" id="{7BC3CEE6-576D-4A25-8B6C-C2373DA1C88A}"/>
              </a:ext>
            </a:extLst>
          </p:cNvPr>
          <p:cNvCxnSpPr>
            <a:cxnSpLocks/>
          </p:cNvCxnSpPr>
          <p:nvPr/>
        </p:nvCxnSpPr>
        <p:spPr>
          <a:xfrm>
            <a:off x="5856552" y="1541935"/>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D105C42B-C8C5-451C-A726-855DF2E48625}"/>
              </a:ext>
            </a:extLst>
          </p:cNvPr>
          <p:cNvSpPr>
            <a:spLocks noGrp="1"/>
          </p:cNvSpPr>
          <p:nvPr>
            <p:ph type="pic" sz="quarter" idx="14"/>
          </p:nvPr>
        </p:nvSpPr>
        <p:spPr>
          <a:xfrm>
            <a:off x="396873" y="427519"/>
            <a:ext cx="4572000" cy="2961495"/>
          </a:xfrm>
        </p:spPr>
        <p:txBody>
          <a:bodyPr/>
          <a:lstStyle/>
          <a:p>
            <a:r>
              <a:rPr lang="en-US" dirty="0"/>
              <a:t>Click icon to add picture</a:t>
            </a:r>
          </a:p>
        </p:txBody>
      </p:sp>
      <p:sp>
        <p:nvSpPr>
          <p:cNvPr id="10" name="Picture Placeholder 4">
            <a:extLst>
              <a:ext uri="{FF2B5EF4-FFF2-40B4-BE49-F238E27FC236}">
                <a16:creationId xmlns:a16="http://schemas.microsoft.com/office/drawing/2014/main" id="{6F2A46D0-0103-4ABC-91D6-429E06561590}"/>
              </a:ext>
            </a:extLst>
          </p:cNvPr>
          <p:cNvSpPr>
            <a:spLocks noGrp="1"/>
          </p:cNvSpPr>
          <p:nvPr>
            <p:ph type="pic" sz="quarter" idx="15"/>
          </p:nvPr>
        </p:nvSpPr>
        <p:spPr>
          <a:xfrm>
            <a:off x="396873" y="3389014"/>
            <a:ext cx="2286000" cy="2743200"/>
          </a:xfrm>
        </p:spPr>
        <p:txBody>
          <a:bodyPr/>
          <a:lstStyle/>
          <a:p>
            <a:r>
              <a:rPr lang="en-US" dirty="0"/>
              <a:t>Click icon to add picture</a:t>
            </a:r>
          </a:p>
        </p:txBody>
      </p:sp>
      <p:sp>
        <p:nvSpPr>
          <p:cNvPr id="11" name="Picture Placeholder 4">
            <a:extLst>
              <a:ext uri="{FF2B5EF4-FFF2-40B4-BE49-F238E27FC236}">
                <a16:creationId xmlns:a16="http://schemas.microsoft.com/office/drawing/2014/main" id="{BFAFE350-DAC2-4FA1-8058-2BB689DE6DEA}"/>
              </a:ext>
            </a:extLst>
          </p:cNvPr>
          <p:cNvSpPr>
            <a:spLocks noGrp="1"/>
          </p:cNvSpPr>
          <p:nvPr>
            <p:ph type="pic" sz="quarter" idx="16"/>
          </p:nvPr>
        </p:nvSpPr>
        <p:spPr>
          <a:xfrm>
            <a:off x="2682873" y="3389014"/>
            <a:ext cx="2286000" cy="2743200"/>
          </a:xfrm>
        </p:spPr>
        <p:txBody>
          <a:bodyPr/>
          <a:lstStyle/>
          <a:p>
            <a:r>
              <a:rPr lang="en-US" dirty="0"/>
              <a:t>Click icon to add picture</a:t>
            </a:r>
          </a:p>
        </p:txBody>
      </p:sp>
      <p:sp>
        <p:nvSpPr>
          <p:cNvPr id="15" name="Title 1">
            <a:extLst>
              <a:ext uri="{FF2B5EF4-FFF2-40B4-BE49-F238E27FC236}">
                <a16:creationId xmlns:a16="http://schemas.microsoft.com/office/drawing/2014/main" id="{E79F3245-5C19-491B-A3C7-0953BE94EC53}"/>
              </a:ext>
            </a:extLst>
          </p:cNvPr>
          <p:cNvSpPr>
            <a:spLocks noGrp="1"/>
          </p:cNvSpPr>
          <p:nvPr>
            <p:ph type="title" hasCustomPrompt="1"/>
          </p:nvPr>
        </p:nvSpPr>
        <p:spPr>
          <a:xfrm>
            <a:off x="5856551" y="1806160"/>
            <a:ext cx="5441196" cy="1325563"/>
          </a:xfrm>
        </p:spPr>
        <p:txBody>
          <a:bodyPr anchor="t"/>
          <a:lstStyle>
            <a:lvl1pPr>
              <a:defRPr/>
            </a:lvl1pPr>
          </a:lstStyle>
          <a:p>
            <a:r>
              <a:rPr lang="en-US" dirty="0"/>
              <a:t>Click to add title</a:t>
            </a:r>
          </a:p>
        </p:txBody>
      </p:sp>
    </p:spTree>
    <p:extLst>
      <p:ext uri="{BB962C8B-B14F-4D97-AF65-F5344CB8AC3E}">
        <p14:creationId xmlns:p14="http://schemas.microsoft.com/office/powerpoint/2010/main" val="13929474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B3DC9-35F0-4E8F-A18D-1E5DD2DBF9E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CE9325-71F0-4D45-8AC1-FB10BA47A7A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2D8DCE-6284-468C-AFAE-9D533BB298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58E3AA-133E-41CB-B554-FF0CE7409A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6F97C8-17F5-43CF-8DEE-A8B3CAD75E1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6AC950-B26D-4B4B-AF47-260954C1B4D5}"/>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8" name="Footer Placeholder 7">
            <a:extLst>
              <a:ext uri="{FF2B5EF4-FFF2-40B4-BE49-F238E27FC236}">
                <a16:creationId xmlns:a16="http://schemas.microsoft.com/office/drawing/2014/main" id="{25010F77-63F5-4B45-8DEF-4BF6AA860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030B078-13CC-4A77-80BD-6E088D5C4B4E}"/>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98013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Our Tea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9CF42-CFB0-4813-AFA8-72E0DF893747}"/>
              </a:ext>
            </a:extLst>
          </p:cNvPr>
          <p:cNvSpPr>
            <a:spLocks noGrp="1"/>
          </p:cNvSpPr>
          <p:nvPr>
            <p:ph type="title" hasCustomPrompt="1"/>
          </p:nvPr>
        </p:nvSpPr>
        <p:spPr>
          <a:xfrm>
            <a:off x="839789" y="2332273"/>
            <a:ext cx="3637944" cy="1325563"/>
          </a:xfrm>
        </p:spPr>
        <p:txBody>
          <a:bodyPr anchor="t"/>
          <a:lstStyle>
            <a:lvl1pPr>
              <a:defRPr/>
            </a:lvl1pPr>
          </a:lstStyle>
          <a:p>
            <a:r>
              <a:rPr lang="en-US" dirty="0"/>
              <a:t>Click to add title</a:t>
            </a:r>
          </a:p>
        </p:txBody>
      </p:sp>
      <p:sp>
        <p:nvSpPr>
          <p:cNvPr id="4" name="Content Placeholder 3">
            <a:extLst>
              <a:ext uri="{FF2B5EF4-FFF2-40B4-BE49-F238E27FC236}">
                <a16:creationId xmlns:a16="http://schemas.microsoft.com/office/drawing/2014/main" id="{2896339C-BF56-4C01-9057-10C1041C7837}"/>
              </a:ext>
            </a:extLst>
          </p:cNvPr>
          <p:cNvSpPr>
            <a:spLocks noGrp="1"/>
          </p:cNvSpPr>
          <p:nvPr>
            <p:ph sz="half" idx="2" hasCustomPrompt="1"/>
          </p:nvPr>
        </p:nvSpPr>
        <p:spPr>
          <a:xfrm>
            <a:off x="839789" y="3761294"/>
            <a:ext cx="3637944" cy="1993857"/>
          </a:xfrm>
        </p:spPr>
        <p:txBody>
          <a:bodyPr>
            <a:normAutofit/>
          </a:bodyPr>
          <a:lstStyle>
            <a:lvl1pPr marL="0" indent="0">
              <a:buNone/>
              <a:defRPr sz="1600"/>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dirty="0"/>
              <a:t>Click to add text</a:t>
            </a:r>
          </a:p>
        </p:txBody>
      </p:sp>
      <p:cxnSp>
        <p:nvCxnSpPr>
          <p:cNvPr id="11" name="Straight Connector 10">
            <a:extLst>
              <a:ext uri="{FF2B5EF4-FFF2-40B4-BE49-F238E27FC236}">
                <a16:creationId xmlns:a16="http://schemas.microsoft.com/office/drawing/2014/main" id="{5F33B443-BC15-456F-A843-6F23BCE2348A}"/>
              </a:ext>
            </a:extLst>
          </p:cNvPr>
          <p:cNvCxnSpPr>
            <a:cxnSpLocks/>
          </p:cNvCxnSpPr>
          <p:nvPr/>
        </p:nvCxnSpPr>
        <p:spPr>
          <a:xfrm>
            <a:off x="839789" y="2060409"/>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FE19BD27-A5AE-4AED-A944-00ED745F24F8}"/>
              </a:ext>
            </a:extLst>
          </p:cNvPr>
          <p:cNvSpPr>
            <a:spLocks noGrp="1"/>
          </p:cNvSpPr>
          <p:nvPr>
            <p:ph type="pic" sz="quarter" idx="13"/>
          </p:nvPr>
        </p:nvSpPr>
        <p:spPr>
          <a:xfrm>
            <a:off x="5057203" y="696457"/>
            <a:ext cx="2077591" cy="1676742"/>
          </a:xfrm>
        </p:spPr>
        <p:txBody>
          <a:bodyPr>
            <a:normAutofit/>
          </a:bodyPr>
          <a:lstStyle>
            <a:lvl1pPr>
              <a:defRPr sz="1600"/>
            </a:lvl1pPr>
          </a:lstStyle>
          <a:p>
            <a:r>
              <a:rPr lang="en-US" dirty="0"/>
              <a:t>Click icon to add picture</a:t>
            </a:r>
          </a:p>
        </p:txBody>
      </p:sp>
      <p:sp>
        <p:nvSpPr>
          <p:cNvPr id="15" name="Text Placeholder 4">
            <a:extLst>
              <a:ext uri="{FF2B5EF4-FFF2-40B4-BE49-F238E27FC236}">
                <a16:creationId xmlns:a16="http://schemas.microsoft.com/office/drawing/2014/main" id="{5B9DF506-FA73-4B69-BFF8-9508CCD1B341}"/>
              </a:ext>
            </a:extLst>
          </p:cNvPr>
          <p:cNvSpPr>
            <a:spLocks noGrp="1"/>
          </p:cNvSpPr>
          <p:nvPr>
            <p:ph type="body" sz="quarter" idx="16" hasCustomPrompt="1"/>
          </p:nvPr>
        </p:nvSpPr>
        <p:spPr>
          <a:xfrm>
            <a:off x="5057204" y="2453541"/>
            <a:ext cx="2077592" cy="296986"/>
          </a:xfrm>
        </p:spPr>
        <p:txBody>
          <a:bodyPr anchor="b">
            <a:noAutofit/>
          </a:bodyPr>
          <a:lstStyle>
            <a:lvl1pPr marL="0" indent="0">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8" name="Content Placeholder 3">
            <a:extLst>
              <a:ext uri="{FF2B5EF4-FFF2-40B4-BE49-F238E27FC236}">
                <a16:creationId xmlns:a16="http://schemas.microsoft.com/office/drawing/2014/main" id="{D3C25E06-F692-49FF-AE8E-D1AB6FF3AAB9}"/>
              </a:ext>
            </a:extLst>
          </p:cNvPr>
          <p:cNvSpPr>
            <a:spLocks noGrp="1"/>
          </p:cNvSpPr>
          <p:nvPr>
            <p:ph sz="half" idx="19" hasCustomPrompt="1"/>
          </p:nvPr>
        </p:nvSpPr>
        <p:spPr>
          <a:xfrm>
            <a:off x="5057204" y="2763582"/>
            <a:ext cx="2077592" cy="301752"/>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Click to add text</a:t>
            </a:r>
          </a:p>
        </p:txBody>
      </p:sp>
      <p:sp>
        <p:nvSpPr>
          <p:cNvPr id="16" name="Picture Placeholder 4">
            <a:extLst>
              <a:ext uri="{FF2B5EF4-FFF2-40B4-BE49-F238E27FC236}">
                <a16:creationId xmlns:a16="http://schemas.microsoft.com/office/drawing/2014/main" id="{11ED6439-33AD-49C2-871A-58168B09AD82}"/>
              </a:ext>
            </a:extLst>
          </p:cNvPr>
          <p:cNvSpPr>
            <a:spLocks noGrp="1"/>
          </p:cNvSpPr>
          <p:nvPr>
            <p:ph type="pic" sz="quarter" idx="20"/>
          </p:nvPr>
        </p:nvSpPr>
        <p:spPr>
          <a:xfrm>
            <a:off x="7374140" y="696457"/>
            <a:ext cx="2077591" cy="1676742"/>
          </a:xfrm>
        </p:spPr>
        <p:txBody>
          <a:bodyPr>
            <a:normAutofit/>
          </a:bodyPr>
          <a:lstStyle>
            <a:lvl1pPr>
              <a:defRPr sz="1600"/>
            </a:lvl1pPr>
          </a:lstStyle>
          <a:p>
            <a:r>
              <a:rPr lang="en-US" dirty="0"/>
              <a:t>Click icon to add picture</a:t>
            </a:r>
          </a:p>
        </p:txBody>
      </p:sp>
      <p:sp>
        <p:nvSpPr>
          <p:cNvPr id="17" name="Text Placeholder 4">
            <a:extLst>
              <a:ext uri="{FF2B5EF4-FFF2-40B4-BE49-F238E27FC236}">
                <a16:creationId xmlns:a16="http://schemas.microsoft.com/office/drawing/2014/main" id="{D724A983-E2D4-411D-8E9C-28DDCC5FAF65}"/>
              </a:ext>
            </a:extLst>
          </p:cNvPr>
          <p:cNvSpPr>
            <a:spLocks noGrp="1"/>
          </p:cNvSpPr>
          <p:nvPr>
            <p:ph type="body" sz="quarter" idx="21" hasCustomPrompt="1"/>
          </p:nvPr>
        </p:nvSpPr>
        <p:spPr>
          <a:xfrm>
            <a:off x="7374141" y="2453541"/>
            <a:ext cx="2077592" cy="296986"/>
          </a:xfrm>
        </p:spPr>
        <p:txBody>
          <a:bodyPr anchor="b">
            <a:noAutofit/>
          </a:bodyPr>
          <a:lstStyle>
            <a:lvl1pPr marL="0" indent="0">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9" name="Content Placeholder 3">
            <a:extLst>
              <a:ext uri="{FF2B5EF4-FFF2-40B4-BE49-F238E27FC236}">
                <a16:creationId xmlns:a16="http://schemas.microsoft.com/office/drawing/2014/main" id="{42A31C1D-8F1D-4CB6-9F05-8D8BB079EB90}"/>
              </a:ext>
            </a:extLst>
          </p:cNvPr>
          <p:cNvSpPr>
            <a:spLocks noGrp="1"/>
          </p:cNvSpPr>
          <p:nvPr>
            <p:ph sz="half" idx="22" hasCustomPrompt="1"/>
          </p:nvPr>
        </p:nvSpPr>
        <p:spPr>
          <a:xfrm>
            <a:off x="7374141" y="2763582"/>
            <a:ext cx="2077592" cy="301752"/>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Click to add text</a:t>
            </a:r>
          </a:p>
        </p:txBody>
      </p:sp>
      <p:sp>
        <p:nvSpPr>
          <p:cNvPr id="20" name="Picture Placeholder 4">
            <a:extLst>
              <a:ext uri="{FF2B5EF4-FFF2-40B4-BE49-F238E27FC236}">
                <a16:creationId xmlns:a16="http://schemas.microsoft.com/office/drawing/2014/main" id="{E32EFC8D-798E-4678-A87B-C90DCCB5A996}"/>
              </a:ext>
            </a:extLst>
          </p:cNvPr>
          <p:cNvSpPr>
            <a:spLocks noGrp="1"/>
          </p:cNvSpPr>
          <p:nvPr>
            <p:ph type="pic" sz="quarter" idx="23"/>
          </p:nvPr>
        </p:nvSpPr>
        <p:spPr>
          <a:xfrm>
            <a:off x="9691076" y="696457"/>
            <a:ext cx="2077591" cy="1676742"/>
          </a:xfrm>
        </p:spPr>
        <p:txBody>
          <a:bodyPr>
            <a:normAutofit/>
          </a:bodyPr>
          <a:lstStyle>
            <a:lvl1pPr>
              <a:defRPr sz="1600"/>
            </a:lvl1pPr>
          </a:lstStyle>
          <a:p>
            <a:r>
              <a:rPr lang="en-US" dirty="0"/>
              <a:t>Click icon to add picture</a:t>
            </a:r>
          </a:p>
        </p:txBody>
      </p:sp>
      <p:sp>
        <p:nvSpPr>
          <p:cNvPr id="21" name="Text Placeholder 4">
            <a:extLst>
              <a:ext uri="{FF2B5EF4-FFF2-40B4-BE49-F238E27FC236}">
                <a16:creationId xmlns:a16="http://schemas.microsoft.com/office/drawing/2014/main" id="{8B1DD5E6-B902-4C2D-9D16-3F59B4BCBA19}"/>
              </a:ext>
            </a:extLst>
          </p:cNvPr>
          <p:cNvSpPr>
            <a:spLocks noGrp="1"/>
          </p:cNvSpPr>
          <p:nvPr>
            <p:ph type="body" sz="quarter" idx="24" hasCustomPrompt="1"/>
          </p:nvPr>
        </p:nvSpPr>
        <p:spPr>
          <a:xfrm>
            <a:off x="9691077" y="2453541"/>
            <a:ext cx="2077592" cy="296986"/>
          </a:xfrm>
        </p:spPr>
        <p:txBody>
          <a:bodyPr anchor="b">
            <a:noAutofit/>
          </a:bodyPr>
          <a:lstStyle>
            <a:lvl1pPr marL="0" indent="0">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2" name="Content Placeholder 3">
            <a:extLst>
              <a:ext uri="{FF2B5EF4-FFF2-40B4-BE49-F238E27FC236}">
                <a16:creationId xmlns:a16="http://schemas.microsoft.com/office/drawing/2014/main" id="{52D6015B-E243-493B-AEF7-C9745236520A}"/>
              </a:ext>
            </a:extLst>
          </p:cNvPr>
          <p:cNvSpPr>
            <a:spLocks noGrp="1"/>
          </p:cNvSpPr>
          <p:nvPr>
            <p:ph sz="half" idx="25" hasCustomPrompt="1"/>
          </p:nvPr>
        </p:nvSpPr>
        <p:spPr>
          <a:xfrm>
            <a:off x="9691077" y="2763582"/>
            <a:ext cx="2077592" cy="301752"/>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Click to add text</a:t>
            </a:r>
          </a:p>
        </p:txBody>
      </p:sp>
      <p:sp>
        <p:nvSpPr>
          <p:cNvPr id="23" name="Picture Placeholder 4">
            <a:extLst>
              <a:ext uri="{FF2B5EF4-FFF2-40B4-BE49-F238E27FC236}">
                <a16:creationId xmlns:a16="http://schemas.microsoft.com/office/drawing/2014/main" id="{A5B97012-2868-43C2-9206-9E4FE0F4F61C}"/>
              </a:ext>
            </a:extLst>
          </p:cNvPr>
          <p:cNvSpPr>
            <a:spLocks noGrp="1"/>
          </p:cNvSpPr>
          <p:nvPr>
            <p:ph type="pic" sz="quarter" idx="26"/>
          </p:nvPr>
        </p:nvSpPr>
        <p:spPr>
          <a:xfrm>
            <a:off x="5078858" y="3386275"/>
            <a:ext cx="2077591" cy="1676742"/>
          </a:xfrm>
        </p:spPr>
        <p:txBody>
          <a:bodyPr>
            <a:normAutofit/>
          </a:bodyPr>
          <a:lstStyle>
            <a:lvl1pPr>
              <a:defRPr sz="1600"/>
            </a:lvl1pPr>
          </a:lstStyle>
          <a:p>
            <a:r>
              <a:rPr lang="en-US" dirty="0"/>
              <a:t>Click icon to add picture</a:t>
            </a:r>
          </a:p>
        </p:txBody>
      </p:sp>
      <p:sp>
        <p:nvSpPr>
          <p:cNvPr id="24" name="Text Placeholder 4">
            <a:extLst>
              <a:ext uri="{FF2B5EF4-FFF2-40B4-BE49-F238E27FC236}">
                <a16:creationId xmlns:a16="http://schemas.microsoft.com/office/drawing/2014/main" id="{48454760-D7F3-475D-A20B-0C0BCB057E7F}"/>
              </a:ext>
            </a:extLst>
          </p:cNvPr>
          <p:cNvSpPr>
            <a:spLocks noGrp="1"/>
          </p:cNvSpPr>
          <p:nvPr>
            <p:ph type="body" sz="quarter" idx="27" hasCustomPrompt="1"/>
          </p:nvPr>
        </p:nvSpPr>
        <p:spPr>
          <a:xfrm>
            <a:off x="5078859" y="5143359"/>
            <a:ext cx="2077592" cy="296986"/>
          </a:xfrm>
        </p:spPr>
        <p:txBody>
          <a:bodyPr anchor="b">
            <a:noAutofit/>
          </a:bodyPr>
          <a:lstStyle>
            <a:lvl1pPr marL="0" indent="0">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5" name="Content Placeholder 3">
            <a:extLst>
              <a:ext uri="{FF2B5EF4-FFF2-40B4-BE49-F238E27FC236}">
                <a16:creationId xmlns:a16="http://schemas.microsoft.com/office/drawing/2014/main" id="{6D393514-D249-454A-BB12-08A04E74C5AB}"/>
              </a:ext>
            </a:extLst>
          </p:cNvPr>
          <p:cNvSpPr>
            <a:spLocks noGrp="1"/>
          </p:cNvSpPr>
          <p:nvPr>
            <p:ph sz="half" idx="28" hasCustomPrompt="1"/>
          </p:nvPr>
        </p:nvSpPr>
        <p:spPr>
          <a:xfrm>
            <a:off x="5078859" y="5453400"/>
            <a:ext cx="2077592" cy="301752"/>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Click to add text</a:t>
            </a:r>
          </a:p>
        </p:txBody>
      </p:sp>
      <p:sp>
        <p:nvSpPr>
          <p:cNvPr id="26" name="Picture Placeholder 4">
            <a:extLst>
              <a:ext uri="{FF2B5EF4-FFF2-40B4-BE49-F238E27FC236}">
                <a16:creationId xmlns:a16="http://schemas.microsoft.com/office/drawing/2014/main" id="{D278255C-18BA-474E-96F6-62A50AF41CA1}"/>
              </a:ext>
            </a:extLst>
          </p:cNvPr>
          <p:cNvSpPr>
            <a:spLocks noGrp="1"/>
          </p:cNvSpPr>
          <p:nvPr>
            <p:ph type="pic" sz="quarter" idx="29"/>
          </p:nvPr>
        </p:nvSpPr>
        <p:spPr>
          <a:xfrm>
            <a:off x="7395795" y="3386275"/>
            <a:ext cx="2077591" cy="1676742"/>
          </a:xfrm>
        </p:spPr>
        <p:txBody>
          <a:bodyPr>
            <a:normAutofit/>
          </a:bodyPr>
          <a:lstStyle>
            <a:lvl1pPr>
              <a:defRPr sz="1600"/>
            </a:lvl1pPr>
          </a:lstStyle>
          <a:p>
            <a:r>
              <a:rPr lang="en-US" dirty="0"/>
              <a:t>Click icon to add picture</a:t>
            </a:r>
          </a:p>
        </p:txBody>
      </p:sp>
      <p:sp>
        <p:nvSpPr>
          <p:cNvPr id="33" name="Text Placeholder 4">
            <a:extLst>
              <a:ext uri="{FF2B5EF4-FFF2-40B4-BE49-F238E27FC236}">
                <a16:creationId xmlns:a16="http://schemas.microsoft.com/office/drawing/2014/main" id="{A4F57BC1-C0AE-424B-9367-C3705C88E571}"/>
              </a:ext>
            </a:extLst>
          </p:cNvPr>
          <p:cNvSpPr>
            <a:spLocks noGrp="1"/>
          </p:cNvSpPr>
          <p:nvPr>
            <p:ph type="body" sz="quarter" idx="30" hasCustomPrompt="1"/>
          </p:nvPr>
        </p:nvSpPr>
        <p:spPr>
          <a:xfrm>
            <a:off x="7395796" y="5143359"/>
            <a:ext cx="2077592" cy="296986"/>
          </a:xfrm>
        </p:spPr>
        <p:txBody>
          <a:bodyPr anchor="b">
            <a:noAutofit/>
          </a:bodyPr>
          <a:lstStyle>
            <a:lvl1pPr marL="0" indent="0">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4" name="Content Placeholder 3">
            <a:extLst>
              <a:ext uri="{FF2B5EF4-FFF2-40B4-BE49-F238E27FC236}">
                <a16:creationId xmlns:a16="http://schemas.microsoft.com/office/drawing/2014/main" id="{B8CE1909-D1B0-4CED-A8A6-86452D796376}"/>
              </a:ext>
            </a:extLst>
          </p:cNvPr>
          <p:cNvSpPr>
            <a:spLocks noGrp="1"/>
          </p:cNvSpPr>
          <p:nvPr>
            <p:ph sz="half" idx="31" hasCustomPrompt="1"/>
          </p:nvPr>
        </p:nvSpPr>
        <p:spPr>
          <a:xfrm>
            <a:off x="7395796" y="5453400"/>
            <a:ext cx="2077592" cy="301752"/>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Click to add text</a:t>
            </a:r>
          </a:p>
        </p:txBody>
      </p:sp>
      <p:sp>
        <p:nvSpPr>
          <p:cNvPr id="35" name="Picture Placeholder 4">
            <a:extLst>
              <a:ext uri="{FF2B5EF4-FFF2-40B4-BE49-F238E27FC236}">
                <a16:creationId xmlns:a16="http://schemas.microsoft.com/office/drawing/2014/main" id="{7844A874-C4B9-4320-AE76-AA222CA8567D}"/>
              </a:ext>
            </a:extLst>
          </p:cNvPr>
          <p:cNvSpPr>
            <a:spLocks noGrp="1"/>
          </p:cNvSpPr>
          <p:nvPr>
            <p:ph type="pic" sz="quarter" idx="32"/>
          </p:nvPr>
        </p:nvSpPr>
        <p:spPr>
          <a:xfrm>
            <a:off x="9712731" y="3386275"/>
            <a:ext cx="2077591" cy="1676742"/>
          </a:xfrm>
        </p:spPr>
        <p:txBody>
          <a:bodyPr>
            <a:normAutofit/>
          </a:bodyPr>
          <a:lstStyle>
            <a:lvl1pPr>
              <a:defRPr sz="1600"/>
            </a:lvl1pPr>
          </a:lstStyle>
          <a:p>
            <a:r>
              <a:rPr lang="en-US" dirty="0"/>
              <a:t>Click icon to add picture</a:t>
            </a:r>
          </a:p>
        </p:txBody>
      </p:sp>
      <p:sp>
        <p:nvSpPr>
          <p:cNvPr id="36" name="Text Placeholder 4">
            <a:extLst>
              <a:ext uri="{FF2B5EF4-FFF2-40B4-BE49-F238E27FC236}">
                <a16:creationId xmlns:a16="http://schemas.microsoft.com/office/drawing/2014/main" id="{FCF80027-C4C4-4FAC-8656-046DDF8D9C84}"/>
              </a:ext>
            </a:extLst>
          </p:cNvPr>
          <p:cNvSpPr>
            <a:spLocks noGrp="1"/>
          </p:cNvSpPr>
          <p:nvPr>
            <p:ph type="body" sz="quarter" idx="33" hasCustomPrompt="1"/>
          </p:nvPr>
        </p:nvSpPr>
        <p:spPr>
          <a:xfrm>
            <a:off x="9712732" y="5143359"/>
            <a:ext cx="2077592" cy="296986"/>
          </a:xfrm>
        </p:spPr>
        <p:txBody>
          <a:bodyPr anchor="b">
            <a:noAutofit/>
          </a:bodyPr>
          <a:lstStyle>
            <a:lvl1pPr marL="0" indent="0">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7" name="Content Placeholder 3">
            <a:extLst>
              <a:ext uri="{FF2B5EF4-FFF2-40B4-BE49-F238E27FC236}">
                <a16:creationId xmlns:a16="http://schemas.microsoft.com/office/drawing/2014/main" id="{5AC34476-3C87-41CC-8284-D6A31C7F741D}"/>
              </a:ext>
            </a:extLst>
          </p:cNvPr>
          <p:cNvSpPr>
            <a:spLocks noGrp="1"/>
          </p:cNvSpPr>
          <p:nvPr>
            <p:ph sz="half" idx="34" hasCustomPrompt="1"/>
          </p:nvPr>
        </p:nvSpPr>
        <p:spPr>
          <a:xfrm>
            <a:off x="9712732" y="5453400"/>
            <a:ext cx="2077592" cy="301752"/>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Click to add text</a:t>
            </a:r>
          </a:p>
        </p:txBody>
      </p:sp>
    </p:spTree>
    <p:extLst>
      <p:ext uri="{BB962C8B-B14F-4D97-AF65-F5344CB8AC3E}">
        <p14:creationId xmlns:p14="http://schemas.microsoft.com/office/powerpoint/2010/main" val="15966111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F8BB7286-594A-4C7F-91C3-90AF74F810BF}"/>
              </a:ext>
            </a:extLst>
          </p:cNvPr>
          <p:cNvSpPr>
            <a:spLocks noGrp="1"/>
          </p:cNvSpPr>
          <p:nvPr>
            <p:ph sz="half" idx="13" hasCustomPrompt="1"/>
          </p:nvPr>
        </p:nvSpPr>
        <p:spPr>
          <a:xfrm>
            <a:off x="5856551" y="3242820"/>
            <a:ext cx="5441197" cy="2904591"/>
          </a:xfrm>
        </p:spPr>
        <p:txBody>
          <a:bodyPr>
            <a:normAutofit/>
          </a:bodyPr>
          <a:lstStyle>
            <a:lvl1pPr marL="0" indent="0">
              <a:buNone/>
              <a:defRPr sz="1600"/>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dirty="0"/>
              <a:t>Click to add text</a:t>
            </a:r>
          </a:p>
        </p:txBody>
      </p:sp>
      <p:cxnSp>
        <p:nvCxnSpPr>
          <p:cNvPr id="14" name="Straight Connector 13">
            <a:extLst>
              <a:ext uri="{FF2B5EF4-FFF2-40B4-BE49-F238E27FC236}">
                <a16:creationId xmlns:a16="http://schemas.microsoft.com/office/drawing/2014/main" id="{7BC3CEE6-576D-4A25-8B6C-C2373DA1C88A}"/>
              </a:ext>
            </a:extLst>
          </p:cNvPr>
          <p:cNvCxnSpPr>
            <a:cxnSpLocks/>
          </p:cNvCxnSpPr>
          <p:nvPr userDrawn="1"/>
        </p:nvCxnSpPr>
        <p:spPr>
          <a:xfrm>
            <a:off x="5856552" y="1541935"/>
            <a:ext cx="548640" cy="0"/>
          </a:xfrm>
          <a:prstGeom prst="line">
            <a:avLst/>
          </a:prstGeom>
          <a:ln w="793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D105C42B-C8C5-451C-A726-855DF2E48625}"/>
              </a:ext>
            </a:extLst>
          </p:cNvPr>
          <p:cNvSpPr>
            <a:spLocks noGrp="1"/>
          </p:cNvSpPr>
          <p:nvPr>
            <p:ph type="pic" sz="quarter" idx="14"/>
          </p:nvPr>
        </p:nvSpPr>
        <p:spPr>
          <a:xfrm>
            <a:off x="385763" y="403767"/>
            <a:ext cx="4629150" cy="5743645"/>
          </a:xfrm>
        </p:spPr>
        <p:txBody>
          <a:bodyPr/>
          <a:lstStyle/>
          <a:p>
            <a:r>
              <a:rPr lang="en-US" dirty="0"/>
              <a:t>Click icon to add picture</a:t>
            </a:r>
          </a:p>
        </p:txBody>
      </p:sp>
      <p:sp>
        <p:nvSpPr>
          <p:cNvPr id="15" name="Title 1">
            <a:extLst>
              <a:ext uri="{FF2B5EF4-FFF2-40B4-BE49-F238E27FC236}">
                <a16:creationId xmlns:a16="http://schemas.microsoft.com/office/drawing/2014/main" id="{778E9976-AB2A-4D33-BDD3-3DD81964854A}"/>
              </a:ext>
            </a:extLst>
          </p:cNvPr>
          <p:cNvSpPr>
            <a:spLocks noGrp="1"/>
          </p:cNvSpPr>
          <p:nvPr>
            <p:ph type="title" hasCustomPrompt="1"/>
          </p:nvPr>
        </p:nvSpPr>
        <p:spPr>
          <a:xfrm>
            <a:off x="5856551" y="1806160"/>
            <a:ext cx="5441196" cy="1325563"/>
          </a:xfrm>
        </p:spPr>
        <p:txBody>
          <a:bodyPr anchor="t"/>
          <a:lstStyle>
            <a:lvl1pPr>
              <a:defRPr/>
            </a:lvl1pPr>
          </a:lstStyle>
          <a:p>
            <a:r>
              <a:rPr lang="en-US" dirty="0"/>
              <a:t>Click to add title</a:t>
            </a:r>
          </a:p>
        </p:txBody>
      </p:sp>
    </p:spTree>
    <p:extLst>
      <p:ext uri="{BB962C8B-B14F-4D97-AF65-F5344CB8AC3E}">
        <p14:creationId xmlns:p14="http://schemas.microsoft.com/office/powerpoint/2010/main" val="39568848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005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61A8C-F13D-465C-BF14-2835514B0FC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75B9B8-4E2B-43FD-B5F7-E9DED923FEA5}"/>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4" name="Footer Placeholder 3">
            <a:extLst>
              <a:ext uri="{FF2B5EF4-FFF2-40B4-BE49-F238E27FC236}">
                <a16:creationId xmlns:a16="http://schemas.microsoft.com/office/drawing/2014/main" id="{9236F1BE-85C0-4B50-A59D-C88F7DE587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FC5703-55CD-4C75-9CCF-98EA437DD6D2}"/>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3098155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99E72C-A32D-4BD8-9C46-2AD5DDF10356}"/>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3" name="Footer Placeholder 2">
            <a:extLst>
              <a:ext uri="{FF2B5EF4-FFF2-40B4-BE49-F238E27FC236}">
                <a16:creationId xmlns:a16="http://schemas.microsoft.com/office/drawing/2014/main" id="{A922C2C5-CBFC-43A6-AEA8-87444D71ACA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472903B-F13B-44C1-8182-185FBEF2D533}"/>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3590787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2682-EFA0-449B-8230-202CFCC7FD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E572AE-647A-47E1-A45B-FAFC2C73C0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F851253-B247-451C-9895-0D20D4BFC6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795103-8092-4DFE-94C0-E3B39969D301}"/>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6" name="Footer Placeholder 5">
            <a:extLst>
              <a:ext uri="{FF2B5EF4-FFF2-40B4-BE49-F238E27FC236}">
                <a16:creationId xmlns:a16="http://schemas.microsoft.com/office/drawing/2014/main" id="{0EB9C38B-8295-4053-B777-B0A9A97390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7B815-E840-4709-AB53-3DBF2C178129}"/>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718886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6A048-3A0B-4C5B-A634-AE217CDD0E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C9D0866-7DB6-40C2-82FF-FD7D52DD899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AF673FB-A185-4BB2-AC18-26C1AEA466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C26F8F5-6072-40EC-AA62-8648DCAB4592}"/>
              </a:ext>
            </a:extLst>
          </p:cNvPr>
          <p:cNvSpPr>
            <a:spLocks noGrp="1"/>
          </p:cNvSpPr>
          <p:nvPr>
            <p:ph type="dt" sz="half" idx="10"/>
          </p:nvPr>
        </p:nvSpPr>
        <p:spPr/>
        <p:txBody>
          <a:bodyPr/>
          <a:lstStyle/>
          <a:p>
            <a:fld id="{F0859A3C-EBFF-4099-9677-45671682F433}" type="datetimeFigureOut">
              <a:rPr lang="en-US" smtClean="0"/>
              <a:t>4/15/2025</a:t>
            </a:fld>
            <a:endParaRPr lang="en-US"/>
          </a:p>
        </p:txBody>
      </p:sp>
      <p:sp>
        <p:nvSpPr>
          <p:cNvPr id="6" name="Footer Placeholder 5">
            <a:extLst>
              <a:ext uri="{FF2B5EF4-FFF2-40B4-BE49-F238E27FC236}">
                <a16:creationId xmlns:a16="http://schemas.microsoft.com/office/drawing/2014/main" id="{171EB464-D851-45A1-9383-EB47377FE5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114406-C3B3-4651-A103-2A72C29AC5B6}"/>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8562472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image" Target="../media/image3.emf"/><Relationship Id="rId3" Type="http://schemas.openxmlformats.org/officeDocument/2006/relationships/slideLayout" Target="../slideLayouts/slideLayout14.xml"/><Relationship Id="rId7" Type="http://schemas.openxmlformats.org/officeDocument/2006/relationships/theme" Target="../theme/theme2.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png"/><Relationship Id="rId5" Type="http://schemas.openxmlformats.org/officeDocument/2006/relationships/slideLayout" Target="../slideLayouts/slideLayout16.xml"/><Relationship Id="rId10"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8.png"/><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image" Target="../media/image14.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theme" Target="../theme/theme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CEFDDA-0606-4479-8A0E-75EA20B78B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2389C92-CFE6-4854-868E-C7F85E5CBD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391BB9-D968-4C71-8177-A89B0D6F45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859A3C-EBFF-4099-9677-45671682F433}" type="datetimeFigureOut">
              <a:rPr lang="en-US" smtClean="0"/>
              <a:t>4/15/2025</a:t>
            </a:fld>
            <a:endParaRPr lang="en-US"/>
          </a:p>
        </p:txBody>
      </p:sp>
      <p:sp>
        <p:nvSpPr>
          <p:cNvPr id="5" name="Footer Placeholder 4">
            <a:extLst>
              <a:ext uri="{FF2B5EF4-FFF2-40B4-BE49-F238E27FC236}">
                <a16:creationId xmlns:a16="http://schemas.microsoft.com/office/drawing/2014/main" id="{03EDE88D-4C21-4C77-9E48-88A0530F5A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6346AD-E348-4F21-9553-4F55C2C847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C97EF6-BE3C-4807-B335-5B970DDD1B47}" type="slidenum">
              <a:rPr lang="en-US" smtClean="0"/>
              <a:t>‹#›</a:t>
            </a:fld>
            <a:endParaRPr lang="en-US"/>
          </a:p>
        </p:txBody>
      </p:sp>
    </p:spTree>
    <p:extLst>
      <p:ext uri="{BB962C8B-B14F-4D97-AF65-F5344CB8AC3E}">
        <p14:creationId xmlns:p14="http://schemas.microsoft.com/office/powerpoint/2010/main" val="9014617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CA0EFFF-3145-6EE3-59F5-B6EB269D4944}"/>
              </a:ext>
            </a:extLst>
          </p:cNvPr>
          <p:cNvSpPr/>
          <p:nvPr/>
        </p:nvSpPr>
        <p:spPr>
          <a:xfrm>
            <a:off x="1380931" y="1564"/>
            <a:ext cx="10811068" cy="825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342C243E-A2C9-F453-6701-8A757855AB49}"/>
              </a:ext>
            </a:extLst>
          </p:cNvPr>
          <p:cNvSpPr/>
          <p:nvPr/>
        </p:nvSpPr>
        <p:spPr>
          <a:xfrm rot="5400000">
            <a:off x="-574289" y="574290"/>
            <a:ext cx="3100041" cy="1951463"/>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6C803E82-0CA3-6BE4-4F1B-2E4DDBCAED4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 y="349458"/>
            <a:ext cx="11822805" cy="1180762"/>
          </a:xfrm>
          <a:prstGeom prst="rect">
            <a:avLst/>
          </a:prstGeom>
        </p:spPr>
      </p:pic>
      <p:pic>
        <p:nvPicPr>
          <p:cNvPr id="7" name="Content Placeholder 5" descr="Icon&#10;&#10;Description automatically generated">
            <a:extLst>
              <a:ext uri="{FF2B5EF4-FFF2-40B4-BE49-F238E27FC236}">
                <a16:creationId xmlns:a16="http://schemas.microsoft.com/office/drawing/2014/main" id="{389BC139-4E46-D7FA-0D1B-9A70EB633296}"/>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733732" y="4001294"/>
            <a:ext cx="7458267" cy="2856706"/>
          </a:xfrm>
          <a:prstGeom prst="rect">
            <a:avLst/>
          </a:prstGeom>
        </p:spPr>
      </p:pic>
      <p:sp>
        <p:nvSpPr>
          <p:cNvPr id="2" name="Title Placeholder 1">
            <a:extLst>
              <a:ext uri="{FF2B5EF4-FFF2-40B4-BE49-F238E27FC236}">
                <a16:creationId xmlns:a16="http://schemas.microsoft.com/office/drawing/2014/main" id="{A8AE9679-86F9-DBEB-C0E9-41B539282119}"/>
              </a:ext>
            </a:extLst>
          </p:cNvPr>
          <p:cNvSpPr>
            <a:spLocks noGrp="1"/>
          </p:cNvSpPr>
          <p:nvPr>
            <p:ph type="title"/>
          </p:nvPr>
        </p:nvSpPr>
        <p:spPr>
          <a:xfrm>
            <a:off x="838200" y="349458"/>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052526D-F614-E410-BA94-77067DE09B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C6AEC42-6C4C-51DA-CDE1-3BC1047EAB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6316D87F-E68E-3586-E579-6813B854C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MEC Proprietary  </a:t>
            </a:r>
          </a:p>
        </p:txBody>
      </p:sp>
      <p:sp>
        <p:nvSpPr>
          <p:cNvPr id="6" name="Slide Number Placeholder 5">
            <a:extLst>
              <a:ext uri="{FF2B5EF4-FFF2-40B4-BE49-F238E27FC236}">
                <a16:creationId xmlns:a16="http://schemas.microsoft.com/office/drawing/2014/main" id="{A2D96B5B-5267-084B-B14C-C6C4AC5749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A9008A-481B-4F65-A514-1AA65EA0FD53}" type="slidenum">
              <a:rPr lang="en-US" smtClean="0"/>
              <a:pPr/>
              <a:t>‹#›</a:t>
            </a:fld>
            <a:endParaRPr lang="en-US" dirty="0"/>
          </a:p>
        </p:txBody>
      </p:sp>
      <p:graphicFrame>
        <p:nvGraphicFramePr>
          <p:cNvPr id="10" name="Object 9" hidden="1">
            <a:extLst>
              <a:ext uri="{FF2B5EF4-FFF2-40B4-BE49-F238E27FC236}">
                <a16:creationId xmlns:a16="http://schemas.microsoft.com/office/drawing/2014/main" id="{4C772037-C3BA-E37D-1D0C-B85DA68BF4C5}"/>
              </a:ext>
            </a:extLst>
          </p:cNvPr>
          <p:cNvGraphicFramePr>
            <a:graphicFrameLocks noChangeAspect="1"/>
          </p:cNvGraphicFramePr>
          <p:nvPr userDrawn="1">
            <p:custDataLst>
              <p:tags r:id="rId8"/>
            </p:custDataLst>
            <p:extLst>
              <p:ext uri="{D42A27DB-BD31-4B8C-83A1-F6EECF244321}">
                <p14:modId xmlns:p14="http://schemas.microsoft.com/office/powerpoint/2010/main" val="15802401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0" name="Object 9" hidden="1">
                        <a:extLst>
                          <a:ext uri="{FF2B5EF4-FFF2-40B4-BE49-F238E27FC236}">
                            <a16:creationId xmlns:a16="http://schemas.microsoft.com/office/drawing/2014/main" id="{4C772037-C3BA-E37D-1D0C-B85DA68BF4C5}"/>
                          </a:ext>
                        </a:extLst>
                      </p:cNvPr>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F659771-117C-094A-8F14-2066F1B7BB10}"/>
              </a:ext>
            </a:extLst>
          </p:cNvPr>
          <p:cNvSpPr/>
          <p:nvPr userDrawn="1">
            <p:custDataLst>
              <p:tags r:id="rId9"/>
            </p:custDataLst>
          </p:nvPr>
        </p:nvSpPr>
        <p:spPr bwMode="auto">
          <a:xfrm>
            <a:off x="0" y="0"/>
            <a:ext cx="158750" cy="15875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3600" b="1"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29044849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algn="l" defTabSz="914400" rtl="0" eaLnBrk="1" latinLnBrk="0" hangingPunct="1">
        <a:lnSpc>
          <a:spcPct val="90000"/>
        </a:lnSpc>
        <a:spcBef>
          <a:spcPct val="0"/>
        </a:spcBef>
        <a:buNone/>
        <a:defRPr sz="3600" b="1" i="0" kern="1200">
          <a:solidFill>
            <a:schemeClr val="bg1"/>
          </a:solidFill>
          <a:latin typeface="Avenir Heavy" panose="02000503020000020003"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rgbClr val="0C909D"/>
          </a:solidFill>
          <a:latin typeface="Avenir Book" panose="0200050302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rgbClr val="0C909D"/>
          </a:solidFill>
          <a:latin typeface="Avenir Book" panose="0200050302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rgbClr val="0C909D"/>
          </a:solidFill>
          <a:latin typeface="Avenir Book" panose="0200050302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rgbClr val="0C909D"/>
          </a:solidFill>
          <a:latin typeface="Avenir Book" panose="0200050302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rgbClr val="0C909D"/>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9">
          <p15:clr>
            <a:srgbClr val="F26B43"/>
          </p15:clr>
        </p15:guide>
        <p15:guide id="4" pos="7385">
          <p15:clr>
            <a:srgbClr val="F26B43"/>
          </p15:clr>
        </p15:guide>
        <p15:guide id="5" orient="horz" pos="931">
          <p15:clr>
            <a:srgbClr val="F26B43"/>
          </p15:clr>
        </p15:guide>
        <p15:guide id="6" orient="horz" pos="877">
          <p15:clr>
            <a:srgbClr val="F26B43"/>
          </p15:clr>
        </p15:guide>
        <p15:guide id="7" orient="horz" pos="261">
          <p15:clr>
            <a:srgbClr val="F26B43"/>
          </p15:clr>
        </p15:guide>
        <p15:guide id="8" orient="horz" pos="3858">
          <p15:clr>
            <a:srgbClr val="F26B43"/>
          </p15:clr>
        </p15:guide>
        <p15:guide id="9" orient="horz" pos="420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Content Placeholder 3" descr="A picture containing text, electronics&#10;&#10;Description automatically generated">
            <a:extLst>
              <a:ext uri="{FF2B5EF4-FFF2-40B4-BE49-F238E27FC236}">
                <a16:creationId xmlns:a16="http://schemas.microsoft.com/office/drawing/2014/main" id="{65A82287-9B8E-C0BE-9768-EDCE00663190}"/>
              </a:ext>
            </a:extLst>
          </p:cNvPr>
          <p:cNvPicPr>
            <a:picLocks noChangeAspect="1"/>
          </p:cNvPicPr>
          <p:nvPr/>
        </p:nvPicPr>
        <p:blipFill>
          <a:blip r:embed="rId6"/>
          <a:stretch>
            <a:fillRect/>
          </a:stretch>
        </p:blipFill>
        <p:spPr>
          <a:xfrm>
            <a:off x="-1" y="-1829"/>
            <a:ext cx="12192000" cy="6858000"/>
          </a:xfrm>
          <a:prstGeom prst="rect">
            <a:avLst/>
          </a:prstGeom>
        </p:spPr>
      </p:pic>
      <p:sp>
        <p:nvSpPr>
          <p:cNvPr id="8" name="Rectangle 7">
            <a:extLst>
              <a:ext uri="{FF2B5EF4-FFF2-40B4-BE49-F238E27FC236}">
                <a16:creationId xmlns:a16="http://schemas.microsoft.com/office/drawing/2014/main" id="{FF757486-75AB-C78C-8AA0-5737F1D85CC9}"/>
              </a:ext>
            </a:extLst>
          </p:cNvPr>
          <p:cNvSpPr/>
          <p:nvPr/>
        </p:nvSpPr>
        <p:spPr>
          <a:xfrm>
            <a:off x="1380931" y="0"/>
            <a:ext cx="10811068" cy="8255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92A682F1-B71C-AE86-A033-FB5CCAEE6E88}"/>
              </a:ext>
            </a:extLst>
          </p:cNvPr>
          <p:cNvSpPr/>
          <p:nvPr/>
        </p:nvSpPr>
        <p:spPr>
          <a:xfrm rot="5400000">
            <a:off x="-574289" y="574290"/>
            <a:ext cx="3100041" cy="1951463"/>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57D9219-DF9D-BCB2-4A8C-A629D28BF6D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2746" y="349417"/>
            <a:ext cx="11822805" cy="1180762"/>
          </a:xfrm>
          <a:prstGeom prst="rect">
            <a:avLst/>
          </a:prstGeom>
        </p:spPr>
      </p:pic>
      <p:sp>
        <p:nvSpPr>
          <p:cNvPr id="2" name="Title Placeholder 1">
            <a:extLst>
              <a:ext uri="{FF2B5EF4-FFF2-40B4-BE49-F238E27FC236}">
                <a16:creationId xmlns:a16="http://schemas.microsoft.com/office/drawing/2014/main" id="{3FC5ABDE-7ACD-7E9A-C1F4-A5E8190A63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dirty="0"/>
              <a:t>Click to edit Master title style</a:t>
            </a:r>
          </a:p>
        </p:txBody>
      </p:sp>
      <p:sp>
        <p:nvSpPr>
          <p:cNvPr id="4" name="Date Placeholder 3">
            <a:extLst>
              <a:ext uri="{FF2B5EF4-FFF2-40B4-BE49-F238E27FC236}">
                <a16:creationId xmlns:a16="http://schemas.microsoft.com/office/drawing/2014/main" id="{4D088D84-9722-1989-7E11-5ED78DB9D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D8DCAF40-3A48-B870-60BB-35BC71D83E19}"/>
              </a:ext>
            </a:extLst>
          </p:cNvPr>
          <p:cNvSpPr>
            <a:spLocks noGrp="1"/>
          </p:cNvSpPr>
          <p:nvPr>
            <p:ph type="ftr" sz="quarter" idx="3"/>
          </p:nvPr>
        </p:nvSpPr>
        <p:spPr>
          <a:xfrm>
            <a:off x="3758184" y="6356350"/>
            <a:ext cx="4718304"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MMEC Proprietary  </a:t>
            </a:r>
            <a:endParaRPr lang="en-US" sz="800" dirty="0"/>
          </a:p>
        </p:txBody>
      </p:sp>
      <p:sp>
        <p:nvSpPr>
          <p:cNvPr id="6" name="Slide Number Placeholder 5">
            <a:extLst>
              <a:ext uri="{FF2B5EF4-FFF2-40B4-BE49-F238E27FC236}">
                <a16:creationId xmlns:a16="http://schemas.microsoft.com/office/drawing/2014/main" id="{DE402D3D-06C1-3910-CC08-136540233C3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B14FED-A694-DD4E-9C0F-10BD5455EBBF}" type="slidenum">
              <a:rPr lang="en-US" smtClean="0"/>
              <a:t>‹#›</a:t>
            </a:fld>
            <a:endParaRPr lang="en-US"/>
          </a:p>
        </p:txBody>
      </p:sp>
      <p:sp>
        <p:nvSpPr>
          <p:cNvPr id="3" name="Text Placeholder 2">
            <a:extLst>
              <a:ext uri="{FF2B5EF4-FFF2-40B4-BE49-F238E27FC236}">
                <a16:creationId xmlns:a16="http://schemas.microsoft.com/office/drawing/2014/main" id="{C66E7A99-2A8B-CE67-1A53-9C91D1C5ED00}"/>
              </a:ext>
            </a:extLst>
          </p:cNvPr>
          <p:cNvSpPr>
            <a:spLocks noGrp="1"/>
          </p:cNvSpPr>
          <p:nvPr>
            <p:ph type="body" idx="1"/>
          </p:nvPr>
        </p:nvSpPr>
        <p:spPr>
          <a:xfrm>
            <a:off x="838200" y="169068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627677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Lst>
  <p:hf hdr="0" dt="0"/>
  <p:txStyles>
    <p:titleStyle>
      <a:lvl1pPr algn="l" defTabSz="914400" rtl="0" eaLnBrk="1" latinLnBrk="0" hangingPunct="1">
        <a:lnSpc>
          <a:spcPct val="90000"/>
        </a:lnSpc>
        <a:spcBef>
          <a:spcPct val="0"/>
        </a:spcBef>
        <a:buNone/>
        <a:defRPr sz="3600" b="1" i="0" kern="1200">
          <a:solidFill>
            <a:schemeClr val="bg1"/>
          </a:solidFill>
          <a:latin typeface="Avenir Heavy" panose="02000503020000020003"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bg1">
              <a:lumMod val="85000"/>
            </a:schemeClr>
          </a:solidFill>
          <a:latin typeface="Avenir Book" panose="0200050302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bg1">
              <a:lumMod val="85000"/>
            </a:schemeClr>
          </a:solidFill>
          <a:latin typeface="Avenir Book" panose="0200050302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bg1">
              <a:lumMod val="85000"/>
            </a:schemeClr>
          </a:solidFill>
          <a:latin typeface="Avenir Book" panose="0200050302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1">
              <a:lumMod val="85000"/>
            </a:schemeClr>
          </a:solidFill>
          <a:latin typeface="Avenir Book" panose="0200050302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1">
              <a:lumMod val="85000"/>
            </a:schemeClr>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65079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BEA513-5076-4D62-8F85-69A918D7EFA4}"/>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dirty="0"/>
              <a:t>Click to add your title</a:t>
            </a:r>
          </a:p>
        </p:txBody>
      </p:sp>
      <p:sp>
        <p:nvSpPr>
          <p:cNvPr id="3" name="Text Placeholder 2">
            <a:extLst>
              <a:ext uri="{FF2B5EF4-FFF2-40B4-BE49-F238E27FC236}">
                <a16:creationId xmlns:a16="http://schemas.microsoft.com/office/drawing/2014/main" id="{BB1855A3-A75E-4A34-A5A1-1B324FA10EF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add tex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Click to add text</a:t>
            </a:r>
          </a:p>
          <a:p>
            <a:pPr lvl="1"/>
            <a:endParaRPr lang="en-US" dirty="0"/>
          </a:p>
        </p:txBody>
      </p:sp>
      <p:sp>
        <p:nvSpPr>
          <p:cNvPr id="7" name="TextBox 6">
            <a:extLst>
              <a:ext uri="{FF2B5EF4-FFF2-40B4-BE49-F238E27FC236}">
                <a16:creationId xmlns:a16="http://schemas.microsoft.com/office/drawing/2014/main" id="{D66A3202-F220-4E38-9CAE-98E11CCB4BE1}"/>
              </a:ext>
            </a:extLst>
          </p:cNvPr>
          <p:cNvSpPr txBox="1"/>
          <p:nvPr userDrawn="1"/>
        </p:nvSpPr>
        <p:spPr>
          <a:xfrm>
            <a:off x="7735437" y="6377262"/>
            <a:ext cx="4152900" cy="246221"/>
          </a:xfrm>
          <a:prstGeom prst="rect">
            <a:avLst/>
          </a:prstGeom>
          <a:noFill/>
        </p:spPr>
        <p:txBody>
          <a:bodyPr wrap="square" rtlCol="0">
            <a:spAutoFit/>
          </a:bodyPr>
          <a:lstStyle/>
          <a:p>
            <a:pPr algn="r"/>
            <a:r>
              <a:rPr lang="en-US" sz="1000" dirty="0">
                <a:latin typeface="Buckeye Sans 2" pitchFamily="2" charset="0"/>
              </a:rPr>
              <a:t>cdme.osu</a:t>
            </a:r>
            <a:r>
              <a:rPr lang="en-US" sz="1000" dirty="0">
                <a:solidFill>
                  <a:schemeClr val="tx1"/>
                </a:solidFill>
                <a:latin typeface="Buckeye Sans 2" pitchFamily="2" charset="0"/>
              </a:rPr>
              <a:t>.</a:t>
            </a:r>
            <a:r>
              <a:rPr lang="en-US" sz="1000" dirty="0">
                <a:latin typeface="Buckeye Sans 2" pitchFamily="2" charset="0"/>
              </a:rPr>
              <a:t>edu</a:t>
            </a:r>
          </a:p>
        </p:txBody>
      </p:sp>
      <p:sp>
        <p:nvSpPr>
          <p:cNvPr id="25" name="TextBox 24">
            <a:extLst>
              <a:ext uri="{FF2B5EF4-FFF2-40B4-BE49-F238E27FC236}">
                <a16:creationId xmlns:a16="http://schemas.microsoft.com/office/drawing/2014/main" id="{F916920A-6E9B-4ECE-A50A-BA6295B915F6}"/>
              </a:ext>
            </a:extLst>
          </p:cNvPr>
          <p:cNvSpPr txBox="1"/>
          <p:nvPr userDrawn="1"/>
        </p:nvSpPr>
        <p:spPr>
          <a:xfrm>
            <a:off x="10531522" y="342900"/>
            <a:ext cx="1356815" cy="246221"/>
          </a:xfrm>
          <a:prstGeom prst="rect">
            <a:avLst/>
          </a:prstGeom>
          <a:noFill/>
        </p:spPr>
        <p:txBody>
          <a:bodyPr wrap="square" rtlCol="0">
            <a:spAutoFit/>
          </a:bodyPr>
          <a:lstStyle/>
          <a:p>
            <a:pPr algn="r"/>
            <a:fld id="{18D72556-5006-448D-A95F-F1ECCE3711C1}" type="slidenum">
              <a:rPr lang="en-US" sz="1000" smtClean="0">
                <a:solidFill>
                  <a:schemeClr val="tx1"/>
                </a:solidFill>
                <a:latin typeface="Buckeye Sans 2" pitchFamily="2" charset="0"/>
              </a:rPr>
              <a:t>‹#›</a:t>
            </a:fld>
            <a:endParaRPr lang="en-US" sz="1000" dirty="0">
              <a:solidFill>
                <a:schemeClr val="tx1"/>
              </a:solidFill>
              <a:latin typeface="Buckeye Sans 2" pitchFamily="2" charset="0"/>
            </a:endParaRPr>
          </a:p>
        </p:txBody>
      </p:sp>
      <p:pic>
        <p:nvPicPr>
          <p:cNvPr id="5" name="Picture 4" descr="A black and white sign with white text&#10;&#10;Description automatically generated">
            <a:extLst>
              <a:ext uri="{FF2B5EF4-FFF2-40B4-BE49-F238E27FC236}">
                <a16:creationId xmlns:a16="http://schemas.microsoft.com/office/drawing/2014/main" id="{3E327BF1-5D57-1DD9-0B2D-A96B15C0E18F}"/>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469918" y="6311900"/>
            <a:ext cx="2267996" cy="407640"/>
          </a:xfrm>
          <a:prstGeom prst="rect">
            <a:avLst/>
          </a:prstGeom>
        </p:spPr>
      </p:pic>
    </p:spTree>
    <p:extLst>
      <p:ext uri="{BB962C8B-B14F-4D97-AF65-F5344CB8AC3E}">
        <p14:creationId xmlns:p14="http://schemas.microsoft.com/office/powerpoint/2010/main" val="1951071635"/>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Lst>
  <p:hf hdr="0" ftr="0" dt="0"/>
  <p:txStyles>
    <p:titleStyle>
      <a:lvl1pPr algn="l" defTabSz="914400" rtl="0" eaLnBrk="1" latinLnBrk="0" hangingPunct="1">
        <a:lnSpc>
          <a:spcPct val="90000"/>
        </a:lnSpc>
        <a:spcBef>
          <a:spcPct val="0"/>
        </a:spcBef>
        <a:buNone/>
        <a:defRPr sz="4000" kern="1200">
          <a:solidFill>
            <a:srgbClr val="BA0C2F"/>
          </a:solidFill>
          <a:latin typeface="Buckeye Serif 2 Black" pitchFamily="2" charset="0"/>
          <a:ea typeface="Buckeye Serif 2 Black" pitchFamily="2"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Buckeye Sans 2"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Buckeye Sans 2"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824">
          <p15:clr>
            <a:srgbClr val="F26B43"/>
          </p15:clr>
        </p15:guide>
        <p15:guide id="2" pos="7440">
          <p15:clr>
            <a:srgbClr val="F26B43"/>
          </p15:clr>
        </p15:guide>
        <p15:guide id="3" orient="horz" pos="3984">
          <p15:clr>
            <a:srgbClr val="F26B43"/>
          </p15:clr>
        </p15:guide>
        <p15:guide id="4" orient="horz" pos="4224">
          <p15:clr>
            <a:srgbClr val="F26B43"/>
          </p15:clr>
        </p15:guide>
        <p15:guide id="5" orient="horz" pos="415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21" Type="http://schemas.openxmlformats.org/officeDocument/2006/relationships/image" Target="../media/image35.jpeg"/><Relationship Id="rId7" Type="http://schemas.openxmlformats.org/officeDocument/2006/relationships/image" Target="../media/image21.png"/><Relationship Id="rId12" Type="http://schemas.openxmlformats.org/officeDocument/2006/relationships/image" Target="../media/image26.jpg"/><Relationship Id="rId17" Type="http://schemas.openxmlformats.org/officeDocument/2006/relationships/image" Target="../media/image31.png"/><Relationship Id="rId2" Type="http://schemas.openxmlformats.org/officeDocument/2006/relationships/image" Target="../media/image16.jpeg"/><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slideLayout" Target="../slideLayouts/slideLayout7.xml"/><Relationship Id="rId6" Type="http://schemas.openxmlformats.org/officeDocument/2006/relationships/image" Target="../media/image20.svg"/><Relationship Id="rId11" Type="http://schemas.openxmlformats.org/officeDocument/2006/relationships/image" Target="../media/image25.png"/><Relationship Id="rId24" Type="http://schemas.openxmlformats.org/officeDocument/2006/relationships/image" Target="../media/image38.sv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jpg"/></Relationships>
</file>

<file path=ppt/slides/_rels/slide1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5.xml"/><Relationship Id="rId1" Type="http://schemas.openxmlformats.org/officeDocument/2006/relationships/slideLayout" Target="../slideLayouts/slideLayout49.xml"/><Relationship Id="rId5" Type="http://schemas.openxmlformats.org/officeDocument/2006/relationships/image" Target="../media/image64.png"/><Relationship Id="rId4" Type="http://schemas.openxmlformats.org/officeDocument/2006/relationships/image" Target="../media/image63.png"/></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3" Type="http://schemas.openxmlformats.org/officeDocument/2006/relationships/hyperlink" Target="https://www.americascuttingedge.org/" TargetMode="External"/><Relationship Id="rId2" Type="http://schemas.openxmlformats.org/officeDocument/2006/relationships/hyperlink" Target="https://iacmi.org/" TargetMode="External"/><Relationship Id="rId1" Type="http://schemas.openxmlformats.org/officeDocument/2006/relationships/slideLayout" Target="../slideLayouts/slideLayout48.xml"/><Relationship Id="rId4" Type="http://schemas.openxmlformats.org/officeDocument/2006/relationships/image" Target="../media/image67.png"/></Relationships>
</file>

<file path=ppt/slides/_rels/slide13.xml.rels><?xml version="1.0" encoding="UTF-8" standalone="yes"?>
<Relationships xmlns="http://schemas.openxmlformats.org/package/2006/relationships"><Relationship Id="rId3" Type="http://schemas.openxmlformats.org/officeDocument/2006/relationships/hyperlink" Target="https://www.metalforamerica.org/get-involved/bootcamps/" TargetMode="External"/><Relationship Id="rId7" Type="http://schemas.openxmlformats.org/officeDocument/2006/relationships/image" Target="../media/image70.jpeg"/><Relationship Id="rId2" Type="http://schemas.openxmlformats.org/officeDocument/2006/relationships/notesSlide" Target="../notesSlides/notesSlide6.xml"/><Relationship Id="rId1" Type="http://schemas.openxmlformats.org/officeDocument/2006/relationships/slideLayout" Target="../slideLayouts/slideLayout49.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hyperlink" Target="https://www.metalforamerica.org/get-involved/workshop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png"/><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2" Type="http://schemas.openxmlformats.org/officeDocument/2006/relationships/hyperlink" Target="mailto:Petitti.9@osu.edu" TargetMode="Externa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48.svg"/><Relationship Id="rId18" Type="http://schemas.openxmlformats.org/officeDocument/2006/relationships/image" Target="../media/image73.png"/><Relationship Id="rId3" Type="http://schemas.openxmlformats.org/officeDocument/2006/relationships/image" Target="../media/image16.jpeg"/><Relationship Id="rId21" Type="http://schemas.openxmlformats.org/officeDocument/2006/relationships/image" Target="../media/image76.png"/><Relationship Id="rId7" Type="http://schemas.openxmlformats.org/officeDocument/2006/relationships/image" Target="../media/image46.svg"/><Relationship Id="rId12" Type="http://schemas.openxmlformats.org/officeDocument/2006/relationships/image" Target="../media/image47.png"/><Relationship Id="rId17" Type="http://schemas.openxmlformats.org/officeDocument/2006/relationships/hyperlink" Target="https://d2leuf3vilid4d.cloudfront.net/-/media/8626BB26F37F4DFDA0CDBED0E934A0E9.ashx?rev=3F39A712BFB9D992D4C3B8662E61C94A" TargetMode="External"/><Relationship Id="rId2" Type="http://schemas.openxmlformats.org/officeDocument/2006/relationships/notesSlide" Target="../notesSlides/notesSlide7.xml"/><Relationship Id="rId16" Type="http://schemas.openxmlformats.org/officeDocument/2006/relationships/image" Target="../media/image35.jpeg"/><Relationship Id="rId20" Type="http://schemas.openxmlformats.org/officeDocument/2006/relationships/image" Target="../media/image75.png"/><Relationship Id="rId1" Type="http://schemas.openxmlformats.org/officeDocument/2006/relationships/slideLayout" Target="../slideLayouts/slideLayout7.xml"/><Relationship Id="rId6" Type="http://schemas.openxmlformats.org/officeDocument/2006/relationships/image" Target="../media/image45.png"/><Relationship Id="rId11" Type="http://schemas.openxmlformats.org/officeDocument/2006/relationships/image" Target="../media/image30.svg"/><Relationship Id="rId5" Type="http://schemas.openxmlformats.org/officeDocument/2006/relationships/image" Target="../media/image44.svg"/><Relationship Id="rId15" Type="http://schemas.openxmlformats.org/officeDocument/2006/relationships/image" Target="../media/image34.svg"/><Relationship Id="rId10" Type="http://schemas.openxmlformats.org/officeDocument/2006/relationships/image" Target="../media/image29.png"/><Relationship Id="rId19" Type="http://schemas.openxmlformats.org/officeDocument/2006/relationships/image" Target="../media/image74.png"/><Relationship Id="rId4" Type="http://schemas.openxmlformats.org/officeDocument/2006/relationships/image" Target="../media/image43.png"/><Relationship Id="rId9" Type="http://schemas.openxmlformats.org/officeDocument/2006/relationships/image" Target="../media/image28.svg"/><Relationship Id="rId14" Type="http://schemas.openxmlformats.org/officeDocument/2006/relationships/image" Target="../media/image33.png"/></Relationships>
</file>

<file path=ppt/slides/_rels/slide17.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47.png"/><Relationship Id="rId3" Type="http://schemas.openxmlformats.org/officeDocument/2006/relationships/image" Target="../media/image16.jpeg"/><Relationship Id="rId7" Type="http://schemas.openxmlformats.org/officeDocument/2006/relationships/image" Target="../media/image45.png"/><Relationship Id="rId12" Type="http://schemas.openxmlformats.org/officeDocument/2006/relationships/image" Target="../media/image30.svg"/><Relationship Id="rId17" Type="http://schemas.openxmlformats.org/officeDocument/2006/relationships/image" Target="../media/image35.jpeg"/><Relationship Id="rId2" Type="http://schemas.openxmlformats.org/officeDocument/2006/relationships/notesSlide" Target="../notesSlides/notesSlide8.xml"/><Relationship Id="rId16" Type="http://schemas.openxmlformats.org/officeDocument/2006/relationships/image" Target="../media/image34.svg"/><Relationship Id="rId1" Type="http://schemas.openxmlformats.org/officeDocument/2006/relationships/slideLayout" Target="../slideLayouts/slideLayout7.xml"/><Relationship Id="rId6" Type="http://schemas.openxmlformats.org/officeDocument/2006/relationships/image" Target="../media/image44.svg"/><Relationship Id="rId11" Type="http://schemas.openxmlformats.org/officeDocument/2006/relationships/image" Target="../media/image29.png"/><Relationship Id="rId5" Type="http://schemas.openxmlformats.org/officeDocument/2006/relationships/image" Target="../media/image43.png"/><Relationship Id="rId15" Type="http://schemas.openxmlformats.org/officeDocument/2006/relationships/image" Target="../media/image33.png"/><Relationship Id="rId10" Type="http://schemas.openxmlformats.org/officeDocument/2006/relationships/image" Target="../media/image28.svg"/><Relationship Id="rId4" Type="http://schemas.openxmlformats.org/officeDocument/2006/relationships/image" Target="../media/image77.png"/><Relationship Id="rId9" Type="http://schemas.openxmlformats.org/officeDocument/2006/relationships/image" Target="../media/image27.png"/><Relationship Id="rId14" Type="http://schemas.openxmlformats.org/officeDocument/2006/relationships/image" Target="../media/image48.svg"/></Relationships>
</file>

<file path=ppt/slides/_rels/slide18.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openxmlformats.org/officeDocument/2006/relationships/image" Target="../media/image43.png"/><Relationship Id="rId7" Type="http://schemas.openxmlformats.org/officeDocument/2006/relationships/image" Target="../media/image27.png"/><Relationship Id="rId12" Type="http://schemas.openxmlformats.org/officeDocument/2006/relationships/image" Target="../media/image48.svg"/><Relationship Id="rId2" Type="http://schemas.openxmlformats.org/officeDocument/2006/relationships/image" Target="../media/image16.jpeg"/><Relationship Id="rId16" Type="http://schemas.openxmlformats.org/officeDocument/2006/relationships/image" Target="../media/image78.png"/><Relationship Id="rId1" Type="http://schemas.openxmlformats.org/officeDocument/2006/relationships/slideLayout" Target="../slideLayouts/slideLayout7.xml"/><Relationship Id="rId6" Type="http://schemas.openxmlformats.org/officeDocument/2006/relationships/image" Target="../media/image46.svg"/><Relationship Id="rId11" Type="http://schemas.openxmlformats.org/officeDocument/2006/relationships/image" Target="../media/image47.png"/><Relationship Id="rId5" Type="http://schemas.openxmlformats.org/officeDocument/2006/relationships/image" Target="../media/image45.png"/><Relationship Id="rId15" Type="http://schemas.openxmlformats.org/officeDocument/2006/relationships/image" Target="../media/image35.jpeg"/><Relationship Id="rId10" Type="http://schemas.openxmlformats.org/officeDocument/2006/relationships/image" Target="../media/image30.svg"/><Relationship Id="rId4" Type="http://schemas.openxmlformats.org/officeDocument/2006/relationships/image" Target="../media/image44.svg"/><Relationship Id="rId9" Type="http://schemas.openxmlformats.org/officeDocument/2006/relationships/image" Target="../media/image29.png"/><Relationship Id="rId14" Type="http://schemas.openxmlformats.org/officeDocument/2006/relationships/image" Target="../media/image34.svg"/></Relationships>
</file>

<file path=ppt/slides/_rels/slide19.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openxmlformats.org/officeDocument/2006/relationships/image" Target="../media/image43.png"/><Relationship Id="rId7" Type="http://schemas.openxmlformats.org/officeDocument/2006/relationships/image" Target="../media/image27.png"/><Relationship Id="rId12" Type="http://schemas.openxmlformats.org/officeDocument/2006/relationships/image" Target="../media/image48.svg"/><Relationship Id="rId17" Type="http://schemas.openxmlformats.org/officeDocument/2006/relationships/image" Target="../media/image78.png"/><Relationship Id="rId2" Type="http://schemas.openxmlformats.org/officeDocument/2006/relationships/image" Target="../media/image16.jpeg"/><Relationship Id="rId16" Type="http://schemas.openxmlformats.org/officeDocument/2006/relationships/image" Target="../media/image79.png"/><Relationship Id="rId1" Type="http://schemas.openxmlformats.org/officeDocument/2006/relationships/slideLayout" Target="../slideLayouts/slideLayout7.xml"/><Relationship Id="rId6" Type="http://schemas.openxmlformats.org/officeDocument/2006/relationships/image" Target="../media/image46.svg"/><Relationship Id="rId11" Type="http://schemas.openxmlformats.org/officeDocument/2006/relationships/image" Target="../media/image47.png"/><Relationship Id="rId5" Type="http://schemas.openxmlformats.org/officeDocument/2006/relationships/image" Target="../media/image45.png"/><Relationship Id="rId15" Type="http://schemas.openxmlformats.org/officeDocument/2006/relationships/image" Target="../media/image35.jpeg"/><Relationship Id="rId10" Type="http://schemas.openxmlformats.org/officeDocument/2006/relationships/image" Target="../media/image30.svg"/><Relationship Id="rId4" Type="http://schemas.openxmlformats.org/officeDocument/2006/relationships/image" Target="../media/image44.svg"/><Relationship Id="rId9" Type="http://schemas.openxmlformats.org/officeDocument/2006/relationships/image" Target="../media/image29.png"/><Relationship Id="rId14" Type="http://schemas.openxmlformats.org/officeDocument/2006/relationships/image" Target="../media/image34.svg"/></Relationships>
</file>

<file path=ppt/slides/_rels/slide2.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image" Target="../media/image16.jpeg"/><Relationship Id="rId16" Type="http://schemas.openxmlformats.org/officeDocument/2006/relationships/image" Target="../media/image48.svg"/><Relationship Id="rId20" Type="http://schemas.openxmlformats.org/officeDocument/2006/relationships/image" Target="../media/image35.jpeg"/><Relationship Id="rId1" Type="http://schemas.openxmlformats.org/officeDocument/2006/relationships/slideLayout" Target="../slideLayouts/slideLayout7.xml"/><Relationship Id="rId6" Type="http://schemas.openxmlformats.org/officeDocument/2006/relationships/image" Target="../media/image42.svg"/><Relationship Id="rId11" Type="http://schemas.openxmlformats.org/officeDocument/2006/relationships/image" Target="../media/image27.png"/><Relationship Id="rId5" Type="http://schemas.openxmlformats.org/officeDocument/2006/relationships/image" Target="../media/image41.png"/><Relationship Id="rId15" Type="http://schemas.openxmlformats.org/officeDocument/2006/relationships/image" Target="../media/image47.png"/><Relationship Id="rId10" Type="http://schemas.openxmlformats.org/officeDocument/2006/relationships/image" Target="../media/image46.svg"/><Relationship Id="rId19" Type="http://schemas.openxmlformats.org/officeDocument/2006/relationships/image" Target="../media/image49.png"/><Relationship Id="rId4" Type="http://schemas.openxmlformats.org/officeDocument/2006/relationships/image" Target="../media/image40.svg"/><Relationship Id="rId9" Type="http://schemas.openxmlformats.org/officeDocument/2006/relationships/image" Target="../media/image45.png"/><Relationship Id="rId14" Type="http://schemas.openxmlformats.org/officeDocument/2006/relationships/image" Target="../media/image30.svg"/></Relationships>
</file>

<file path=ppt/slides/_rels/slide20.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openxmlformats.org/officeDocument/2006/relationships/image" Target="../media/image43.png"/><Relationship Id="rId7" Type="http://schemas.openxmlformats.org/officeDocument/2006/relationships/image" Target="../media/image27.png"/><Relationship Id="rId12" Type="http://schemas.openxmlformats.org/officeDocument/2006/relationships/image" Target="../media/image48.svg"/><Relationship Id="rId2" Type="http://schemas.openxmlformats.org/officeDocument/2006/relationships/image" Target="../media/image16.jpeg"/><Relationship Id="rId16" Type="http://schemas.openxmlformats.org/officeDocument/2006/relationships/image" Target="../media/image80.png"/><Relationship Id="rId1" Type="http://schemas.openxmlformats.org/officeDocument/2006/relationships/slideLayout" Target="../slideLayouts/slideLayout7.xml"/><Relationship Id="rId6" Type="http://schemas.openxmlformats.org/officeDocument/2006/relationships/image" Target="../media/image46.svg"/><Relationship Id="rId11" Type="http://schemas.openxmlformats.org/officeDocument/2006/relationships/image" Target="../media/image47.png"/><Relationship Id="rId5" Type="http://schemas.openxmlformats.org/officeDocument/2006/relationships/image" Target="../media/image45.png"/><Relationship Id="rId15" Type="http://schemas.openxmlformats.org/officeDocument/2006/relationships/image" Target="../media/image35.jpeg"/><Relationship Id="rId10" Type="http://schemas.openxmlformats.org/officeDocument/2006/relationships/image" Target="../media/image30.svg"/><Relationship Id="rId4" Type="http://schemas.openxmlformats.org/officeDocument/2006/relationships/image" Target="../media/image44.svg"/><Relationship Id="rId9" Type="http://schemas.openxmlformats.org/officeDocument/2006/relationships/image" Target="../media/image29.png"/><Relationship Id="rId14" Type="http://schemas.openxmlformats.org/officeDocument/2006/relationships/image" Target="../media/image34.svg"/></Relationships>
</file>

<file path=ppt/slides/_rels/slide21.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openxmlformats.org/officeDocument/2006/relationships/image" Target="../media/image43.png"/><Relationship Id="rId7" Type="http://schemas.openxmlformats.org/officeDocument/2006/relationships/image" Target="../media/image27.png"/><Relationship Id="rId12" Type="http://schemas.openxmlformats.org/officeDocument/2006/relationships/image" Target="../media/image48.svg"/><Relationship Id="rId17" Type="http://schemas.openxmlformats.org/officeDocument/2006/relationships/image" Target="../media/image82.png"/><Relationship Id="rId2" Type="http://schemas.openxmlformats.org/officeDocument/2006/relationships/image" Target="../media/image16.jpeg"/><Relationship Id="rId16" Type="http://schemas.openxmlformats.org/officeDocument/2006/relationships/image" Target="../media/image81.jpeg"/><Relationship Id="rId1" Type="http://schemas.openxmlformats.org/officeDocument/2006/relationships/slideLayout" Target="../slideLayouts/slideLayout7.xml"/><Relationship Id="rId6" Type="http://schemas.openxmlformats.org/officeDocument/2006/relationships/image" Target="../media/image46.svg"/><Relationship Id="rId11" Type="http://schemas.openxmlformats.org/officeDocument/2006/relationships/image" Target="../media/image47.png"/><Relationship Id="rId5" Type="http://schemas.openxmlformats.org/officeDocument/2006/relationships/image" Target="../media/image45.png"/><Relationship Id="rId15" Type="http://schemas.openxmlformats.org/officeDocument/2006/relationships/image" Target="../media/image35.jpeg"/><Relationship Id="rId10" Type="http://schemas.openxmlformats.org/officeDocument/2006/relationships/image" Target="../media/image30.svg"/><Relationship Id="rId4" Type="http://schemas.openxmlformats.org/officeDocument/2006/relationships/image" Target="../media/image44.svg"/><Relationship Id="rId9" Type="http://schemas.openxmlformats.org/officeDocument/2006/relationships/image" Target="../media/image29.png"/><Relationship Id="rId14" Type="http://schemas.openxmlformats.org/officeDocument/2006/relationships/image" Target="../media/image34.svg"/></Relationships>
</file>

<file path=ppt/slides/_rels/slide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image" Target="../media/image16.jpeg"/><Relationship Id="rId16" Type="http://schemas.openxmlformats.org/officeDocument/2006/relationships/image" Target="../media/image48.svg"/><Relationship Id="rId1" Type="http://schemas.openxmlformats.org/officeDocument/2006/relationships/slideLayout" Target="../slideLayouts/slideLayout7.xml"/><Relationship Id="rId6" Type="http://schemas.openxmlformats.org/officeDocument/2006/relationships/image" Target="../media/image42.svg"/><Relationship Id="rId11" Type="http://schemas.openxmlformats.org/officeDocument/2006/relationships/image" Target="../media/image27.png"/><Relationship Id="rId5" Type="http://schemas.openxmlformats.org/officeDocument/2006/relationships/image" Target="../media/image41.png"/><Relationship Id="rId15" Type="http://schemas.openxmlformats.org/officeDocument/2006/relationships/image" Target="../media/image47.png"/><Relationship Id="rId10" Type="http://schemas.openxmlformats.org/officeDocument/2006/relationships/image" Target="../media/image46.svg"/><Relationship Id="rId19" Type="http://schemas.openxmlformats.org/officeDocument/2006/relationships/image" Target="../media/image35.jpeg"/><Relationship Id="rId4" Type="http://schemas.openxmlformats.org/officeDocument/2006/relationships/image" Target="../media/image40.svg"/><Relationship Id="rId9" Type="http://schemas.openxmlformats.org/officeDocument/2006/relationships/image" Target="../media/image45.png"/><Relationship Id="rId14" Type="http://schemas.openxmlformats.org/officeDocument/2006/relationships/image" Target="../media/image30.svg"/></Relationships>
</file>

<file path=ppt/slides/_rels/slide4.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30.svg"/><Relationship Id="rId18" Type="http://schemas.openxmlformats.org/officeDocument/2006/relationships/image" Target="../media/image35.jpeg"/><Relationship Id="rId3" Type="http://schemas.openxmlformats.org/officeDocument/2006/relationships/image" Target="../media/image16.jpeg"/><Relationship Id="rId7" Type="http://schemas.openxmlformats.org/officeDocument/2006/relationships/image" Target="../media/image44.sv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notesSlide" Target="../notesSlides/notesSlide1.xml"/><Relationship Id="rId16" Type="http://schemas.openxmlformats.org/officeDocument/2006/relationships/image" Target="../media/image33.png"/><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28.svg"/><Relationship Id="rId5" Type="http://schemas.openxmlformats.org/officeDocument/2006/relationships/image" Target="../media/image40.svg"/><Relationship Id="rId15" Type="http://schemas.openxmlformats.org/officeDocument/2006/relationships/image" Target="../media/image48.svg"/><Relationship Id="rId10" Type="http://schemas.openxmlformats.org/officeDocument/2006/relationships/image" Target="../media/image27.png"/><Relationship Id="rId19" Type="http://schemas.openxmlformats.org/officeDocument/2006/relationships/image" Target="../media/image50.png"/><Relationship Id="rId4" Type="http://schemas.openxmlformats.org/officeDocument/2006/relationships/image" Target="../media/image39.png"/><Relationship Id="rId9" Type="http://schemas.openxmlformats.org/officeDocument/2006/relationships/image" Target="../media/image46.svg"/><Relationship Id="rId14" Type="http://schemas.openxmlformats.org/officeDocument/2006/relationships/image" Target="../media/image47.png"/></Relationships>
</file>

<file path=ppt/slides/_rels/slide5.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16.jpeg"/><Relationship Id="rId7" Type="http://schemas.openxmlformats.org/officeDocument/2006/relationships/image" Target="../media/image4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notesSlide" Target="../notesSlides/notesSlide2.xml"/><Relationship Id="rId16" Type="http://schemas.openxmlformats.org/officeDocument/2006/relationships/image" Target="../media/image48.svg"/><Relationship Id="rId20" Type="http://schemas.openxmlformats.org/officeDocument/2006/relationships/image" Target="../media/image51.png"/><Relationship Id="rId1" Type="http://schemas.openxmlformats.org/officeDocument/2006/relationships/slideLayout" Target="../slideLayouts/slideLayout7.xml"/><Relationship Id="rId6" Type="http://schemas.openxmlformats.org/officeDocument/2006/relationships/hyperlink" Target="https://www.linkedin.com/company/ohio-technet/?viewAsMember=true" TargetMode="External"/><Relationship Id="rId11" Type="http://schemas.openxmlformats.org/officeDocument/2006/relationships/image" Target="../media/image27.png"/><Relationship Id="rId5" Type="http://schemas.openxmlformats.org/officeDocument/2006/relationships/image" Target="../media/image40.svg"/><Relationship Id="rId15" Type="http://schemas.openxmlformats.org/officeDocument/2006/relationships/image" Target="../media/image47.png"/><Relationship Id="rId10" Type="http://schemas.openxmlformats.org/officeDocument/2006/relationships/image" Target="../media/image46.svg"/><Relationship Id="rId19" Type="http://schemas.openxmlformats.org/officeDocument/2006/relationships/image" Target="../media/image35.jpeg"/><Relationship Id="rId4" Type="http://schemas.openxmlformats.org/officeDocument/2006/relationships/image" Target="../media/image39.png"/><Relationship Id="rId9" Type="http://schemas.openxmlformats.org/officeDocument/2006/relationships/image" Target="../media/image45.png"/><Relationship Id="rId14" Type="http://schemas.openxmlformats.org/officeDocument/2006/relationships/image" Target="../media/image30.svg"/></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55.jpg"/><Relationship Id="rId3" Type="http://schemas.openxmlformats.org/officeDocument/2006/relationships/image" Target="../media/image16.jpeg"/><Relationship Id="rId7" Type="http://schemas.openxmlformats.org/officeDocument/2006/relationships/image" Target="../media/image48.svg"/><Relationship Id="rId12" Type="http://schemas.openxmlformats.org/officeDocument/2006/relationships/image" Target="../media/image54.jp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47.png"/><Relationship Id="rId11" Type="http://schemas.openxmlformats.org/officeDocument/2006/relationships/image" Target="../media/image53.png"/><Relationship Id="rId5" Type="http://schemas.openxmlformats.org/officeDocument/2006/relationships/image" Target="../media/image44.svg"/><Relationship Id="rId10" Type="http://schemas.openxmlformats.org/officeDocument/2006/relationships/image" Target="../media/image52.png"/><Relationship Id="rId4" Type="http://schemas.openxmlformats.org/officeDocument/2006/relationships/image" Target="../media/image43.png"/><Relationship Id="rId9" Type="http://schemas.openxmlformats.org/officeDocument/2006/relationships/image" Target="../media/image34.svg"/><Relationship Id="rId14" Type="http://schemas.openxmlformats.org/officeDocument/2006/relationships/image" Target="../media/image56.jpg"/></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57.jfif"/><Relationship Id="rId7" Type="http://schemas.openxmlformats.org/officeDocument/2006/relationships/image" Target="../media/image48.sv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4.svg"/><Relationship Id="rId10" Type="http://schemas.openxmlformats.org/officeDocument/2006/relationships/hyperlink" Target="https://o7zozywab.cc.rs6.net/tn.jsp?f=001bvEo5k97eHaW0gg-R-tcqX6mt5fpdwOkG-9L9j1cPvgnz6V4Z6mfZzLvyKFE080yv_QREhxnShCFCsuJvyyihwd2QnSEpjbSjzpMa5DAYvB94kwd8Wtb0QX-WV_j_ONWboH-kw2Q98RobX5RSKnywHBe21FxB1TVpWMga6TFeZrQ1YfrWtZYP_UFwxWxl_P-s1ld60c4_bdm5ypnhp84Cg==&amp;c=kRR_T2odAB85isX3A_JIVI5P_crU6hmRVoNyG2D2L1PNVOhOaum7rg==&amp;ch=WGIfW08X1MVFKQGZzBtTSGJyeFsSoR0EjIIVg5zfXZ9OPi5JsfFDRQ==" TargetMode="External"/><Relationship Id="rId4" Type="http://schemas.openxmlformats.org/officeDocument/2006/relationships/image" Target="../media/image43.png"/><Relationship Id="rId9" Type="http://schemas.openxmlformats.org/officeDocument/2006/relationships/image" Target="../media/image34.svg"/></Relationships>
</file>

<file path=ppt/slides/_rels/slide8.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27.png"/><Relationship Id="rId18" Type="http://schemas.openxmlformats.org/officeDocument/2006/relationships/image" Target="../media/image34.svg"/><Relationship Id="rId3" Type="http://schemas.openxmlformats.org/officeDocument/2006/relationships/image" Target="../media/image59.svg"/><Relationship Id="rId7" Type="http://schemas.openxmlformats.org/officeDocument/2006/relationships/image" Target="../media/image43.png"/><Relationship Id="rId12" Type="http://schemas.openxmlformats.org/officeDocument/2006/relationships/image" Target="../media/image22.svg"/><Relationship Id="rId17" Type="http://schemas.openxmlformats.org/officeDocument/2006/relationships/image" Target="../media/image33.png"/><Relationship Id="rId2" Type="http://schemas.openxmlformats.org/officeDocument/2006/relationships/image" Target="../media/image58.png"/><Relationship Id="rId16" Type="http://schemas.openxmlformats.org/officeDocument/2006/relationships/image" Target="../media/image48.svg"/><Relationship Id="rId1" Type="http://schemas.openxmlformats.org/officeDocument/2006/relationships/slideLayout" Target="../slideLayouts/slideLayout7.xml"/><Relationship Id="rId6" Type="http://schemas.openxmlformats.org/officeDocument/2006/relationships/hyperlink" Target="https://o7zozywab.cc.rs6.net/tn.jsp?f=001bvEo5k97eHaW0gg-R-tcqX6mt5fpdwOkG-9L9j1cPvgnz6V4Z6mfZzLvyKFE080yMv1UwLZlc8y3BcFp4JmaNHjJnPzMIjYcFKelTvJO3boEmczDEmcu8fancBpoTd__yqXC0MYHdxAG3HEJ1O36ws9tcOgNjBqEH1e2FJURacn5gvxPQfX3qrEawNxc7Cn8rpSScnOYFJg=&amp;c=kRR_T2odAB85isX3A_JIVI5P_crU6hmRVoNyG2D2L1PNVOhOaum7rg==&amp;ch=WGIfW08X1MVFKQGZzBtTSGJyeFsSoR0EjIIVg5zfXZ9OPi5JsfFDRQ==" TargetMode="External"/><Relationship Id="rId11" Type="http://schemas.openxmlformats.org/officeDocument/2006/relationships/image" Target="../media/image21.png"/><Relationship Id="rId5" Type="http://schemas.openxmlformats.org/officeDocument/2006/relationships/image" Target="../media/image61.jpeg"/><Relationship Id="rId15" Type="http://schemas.openxmlformats.org/officeDocument/2006/relationships/image" Target="../media/image47.png"/><Relationship Id="rId10" Type="http://schemas.openxmlformats.org/officeDocument/2006/relationships/image" Target="../media/image18.svg"/><Relationship Id="rId19" Type="http://schemas.openxmlformats.org/officeDocument/2006/relationships/image" Target="../media/image35.jpeg"/><Relationship Id="rId4" Type="http://schemas.openxmlformats.org/officeDocument/2006/relationships/image" Target="../media/image60.jpg"/><Relationship Id="rId9" Type="http://schemas.openxmlformats.org/officeDocument/2006/relationships/image" Target="../media/image17.png"/><Relationship Id="rId14" Type="http://schemas.openxmlformats.org/officeDocument/2006/relationships/image" Target="../media/image28.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33638" y="-55324"/>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t="-18444"/>
            </a:stretch>
          </a:blipFill>
        </p:spPr>
      </p:sp>
      <p:grpSp>
        <p:nvGrpSpPr>
          <p:cNvPr id="3" name="Group 3"/>
          <p:cNvGrpSpPr/>
          <p:nvPr/>
        </p:nvGrpSpPr>
        <p:grpSpPr>
          <a:xfrm>
            <a:off x="6369669" y="3633445"/>
            <a:ext cx="7808195" cy="6493088"/>
            <a:chOff x="0" y="0"/>
            <a:chExt cx="676659" cy="562692"/>
          </a:xfrm>
        </p:grpSpPr>
        <p:sp>
          <p:nvSpPr>
            <p:cNvPr id="4" name="Freeform 4"/>
            <p:cNvSpPr/>
            <p:nvPr/>
          </p:nvSpPr>
          <p:spPr>
            <a:xfrm>
              <a:off x="0" y="0"/>
              <a:ext cx="676659" cy="562692"/>
            </a:xfrm>
            <a:custGeom>
              <a:avLst/>
              <a:gdLst/>
              <a:ahLst/>
              <a:cxnLst/>
              <a:rect l="l" t="t" r="r" b="b"/>
              <a:pathLst>
                <a:path w="676659" h="562692">
                  <a:moveTo>
                    <a:pt x="676659" y="281346"/>
                  </a:moveTo>
                  <a:lnTo>
                    <a:pt x="473459" y="562692"/>
                  </a:lnTo>
                  <a:lnTo>
                    <a:pt x="203200" y="562692"/>
                  </a:lnTo>
                  <a:lnTo>
                    <a:pt x="0" y="281346"/>
                  </a:lnTo>
                  <a:lnTo>
                    <a:pt x="203200" y="0"/>
                  </a:lnTo>
                  <a:lnTo>
                    <a:pt x="473459" y="0"/>
                  </a:lnTo>
                  <a:lnTo>
                    <a:pt x="676659" y="281346"/>
                  </a:lnTo>
                  <a:close/>
                </a:path>
              </a:pathLst>
            </a:custGeom>
            <a:solidFill>
              <a:srgbClr val="A10D00"/>
            </a:solidFill>
          </p:spPr>
        </p:sp>
        <p:sp>
          <p:nvSpPr>
            <p:cNvPr id="5" name="TextBox 5"/>
            <p:cNvSpPr txBox="1"/>
            <p:nvPr/>
          </p:nvSpPr>
          <p:spPr>
            <a:xfrm>
              <a:off x="114300" y="-57150"/>
              <a:ext cx="448059" cy="619842"/>
            </a:xfrm>
            <a:prstGeom prst="rect">
              <a:avLst/>
            </a:prstGeom>
          </p:spPr>
          <p:txBody>
            <a:bodyPr lIns="33867" tIns="33867" rIns="33867" bIns="33867" rtlCol="0" anchor="ctr"/>
            <a:lstStyle/>
            <a:p>
              <a:pPr algn="ctr">
                <a:lnSpc>
                  <a:spcPts val="2333"/>
                </a:lnSpc>
              </a:pPr>
              <a:endParaRPr sz="1200"/>
            </a:p>
          </p:txBody>
        </p:sp>
      </p:grpSp>
      <p:grpSp>
        <p:nvGrpSpPr>
          <p:cNvPr id="6" name="Group 6"/>
          <p:cNvGrpSpPr/>
          <p:nvPr/>
        </p:nvGrpSpPr>
        <p:grpSpPr>
          <a:xfrm>
            <a:off x="5585251" y="-676051"/>
            <a:ext cx="13846779" cy="7010703"/>
            <a:chOff x="0" y="0"/>
            <a:chExt cx="561152" cy="282796"/>
          </a:xfrm>
        </p:grpSpPr>
        <p:sp>
          <p:nvSpPr>
            <p:cNvPr id="7" name="Freeform 7"/>
            <p:cNvSpPr/>
            <p:nvPr/>
          </p:nvSpPr>
          <p:spPr>
            <a:xfrm>
              <a:off x="0" y="0"/>
              <a:ext cx="561152" cy="282796"/>
            </a:xfrm>
            <a:custGeom>
              <a:avLst/>
              <a:gdLst/>
              <a:ahLst/>
              <a:cxnLst/>
              <a:rect l="l" t="t" r="r" b="b"/>
              <a:pathLst>
                <a:path w="561152" h="282796">
                  <a:moveTo>
                    <a:pt x="203200" y="282796"/>
                  </a:moveTo>
                  <a:lnTo>
                    <a:pt x="357952" y="282796"/>
                  </a:lnTo>
                  <a:lnTo>
                    <a:pt x="561152" y="0"/>
                  </a:lnTo>
                  <a:lnTo>
                    <a:pt x="0" y="0"/>
                  </a:lnTo>
                  <a:lnTo>
                    <a:pt x="203200" y="282796"/>
                  </a:lnTo>
                  <a:close/>
                </a:path>
              </a:pathLst>
            </a:custGeom>
            <a:solidFill>
              <a:srgbClr val="B51F19"/>
            </a:solidFill>
            <a:ln cap="sq">
              <a:noFill/>
              <a:prstDash val="solid"/>
              <a:miter/>
            </a:ln>
          </p:spPr>
        </p:sp>
        <p:sp>
          <p:nvSpPr>
            <p:cNvPr id="8" name="TextBox 8"/>
            <p:cNvSpPr txBox="1"/>
            <p:nvPr/>
          </p:nvSpPr>
          <p:spPr>
            <a:xfrm>
              <a:off x="127000" y="-57150"/>
              <a:ext cx="307152" cy="339946"/>
            </a:xfrm>
            <a:prstGeom prst="rect">
              <a:avLst/>
            </a:prstGeom>
          </p:spPr>
          <p:txBody>
            <a:bodyPr lIns="33867" tIns="33867" rIns="33867" bIns="33867" rtlCol="0" anchor="ctr"/>
            <a:lstStyle/>
            <a:p>
              <a:pPr algn="ctr">
                <a:lnSpc>
                  <a:spcPts val="2333"/>
                </a:lnSpc>
              </a:pPr>
              <a:endParaRPr sz="1200"/>
            </a:p>
          </p:txBody>
        </p:sp>
      </p:grpSp>
      <p:sp>
        <p:nvSpPr>
          <p:cNvPr id="9" name="Freeform 9"/>
          <p:cNvSpPr/>
          <p:nvPr/>
        </p:nvSpPr>
        <p:spPr>
          <a:xfrm rot="5400000">
            <a:off x="10777940" y="767467"/>
            <a:ext cx="1513893" cy="599873"/>
          </a:xfrm>
          <a:custGeom>
            <a:avLst/>
            <a:gdLst/>
            <a:ahLst/>
            <a:cxnLst/>
            <a:rect l="l" t="t" r="r" b="b"/>
            <a:pathLst>
              <a:path w="2270840" h="899810">
                <a:moveTo>
                  <a:pt x="0" y="0"/>
                </a:moveTo>
                <a:lnTo>
                  <a:pt x="2270840" y="0"/>
                </a:lnTo>
                <a:lnTo>
                  <a:pt x="2270840" y="899811"/>
                </a:lnTo>
                <a:lnTo>
                  <a:pt x="0" y="899811"/>
                </a:lnTo>
                <a:lnTo>
                  <a:pt x="0" y="0"/>
                </a:lnTo>
                <a:close/>
              </a:path>
            </a:pathLst>
          </a:custGeom>
          <a:blipFill>
            <a:blip r:embed="rId3">
              <a:extLst>
                <a:ext uri="{96DAC541-7B7A-43D3-8B79-37D633B846F1}">
                  <asvg:svgBlip xmlns:asvg="http://schemas.microsoft.com/office/drawing/2016/SVG/main" r:embed="rId4"/>
                </a:ext>
              </a:extLst>
            </a:blip>
            <a:stretch>
              <a:fillRect t="-20273" r="-21421"/>
            </a:stretch>
          </a:blipFill>
        </p:spPr>
      </p:sp>
      <p:sp>
        <p:nvSpPr>
          <p:cNvPr id="10" name="Freeform 10"/>
          <p:cNvSpPr/>
          <p:nvPr/>
        </p:nvSpPr>
        <p:spPr>
          <a:xfrm>
            <a:off x="5180437" y="6017978"/>
            <a:ext cx="590653" cy="357837"/>
          </a:xfrm>
          <a:custGeom>
            <a:avLst/>
            <a:gdLst/>
            <a:ahLst/>
            <a:cxnLst/>
            <a:rect l="l" t="t" r="r" b="b"/>
            <a:pathLst>
              <a:path w="885980" h="536756">
                <a:moveTo>
                  <a:pt x="0" y="0"/>
                </a:moveTo>
                <a:lnTo>
                  <a:pt x="885980" y="0"/>
                </a:lnTo>
                <a:lnTo>
                  <a:pt x="885980" y="536756"/>
                </a:lnTo>
                <a:lnTo>
                  <a:pt x="0" y="5367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1" name="Freeform 11"/>
          <p:cNvSpPr/>
          <p:nvPr/>
        </p:nvSpPr>
        <p:spPr>
          <a:xfrm>
            <a:off x="3151905" y="5746852"/>
            <a:ext cx="590653" cy="357837"/>
          </a:xfrm>
          <a:custGeom>
            <a:avLst/>
            <a:gdLst/>
            <a:ahLst/>
            <a:cxnLst/>
            <a:rect l="l" t="t" r="r" b="b"/>
            <a:pathLst>
              <a:path w="885980" h="536756">
                <a:moveTo>
                  <a:pt x="0" y="0"/>
                </a:moveTo>
                <a:lnTo>
                  <a:pt x="885980" y="0"/>
                </a:lnTo>
                <a:lnTo>
                  <a:pt x="885980" y="536756"/>
                </a:lnTo>
                <a:lnTo>
                  <a:pt x="0" y="5367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12" name="Group 12"/>
          <p:cNvGrpSpPr/>
          <p:nvPr/>
        </p:nvGrpSpPr>
        <p:grpSpPr>
          <a:xfrm>
            <a:off x="3469563" y="5848938"/>
            <a:ext cx="1890355" cy="436249"/>
            <a:chOff x="-6067" y="169970"/>
            <a:chExt cx="1310561" cy="282928"/>
          </a:xfrm>
        </p:grpSpPr>
        <p:sp>
          <p:nvSpPr>
            <p:cNvPr id="13" name="Freeform 13"/>
            <p:cNvSpPr/>
            <p:nvPr/>
          </p:nvSpPr>
          <p:spPr>
            <a:xfrm>
              <a:off x="-6067" y="203669"/>
              <a:ext cx="1304494" cy="225778"/>
            </a:xfrm>
            <a:custGeom>
              <a:avLst/>
              <a:gdLst/>
              <a:ahLst/>
              <a:cxnLst/>
              <a:rect l="l" t="t" r="r" b="b"/>
              <a:pathLst>
                <a:path w="1304494" h="225778">
                  <a:moveTo>
                    <a:pt x="0" y="0"/>
                  </a:moveTo>
                  <a:lnTo>
                    <a:pt x="1304494" y="0"/>
                  </a:lnTo>
                  <a:lnTo>
                    <a:pt x="1304494" y="225778"/>
                  </a:lnTo>
                  <a:lnTo>
                    <a:pt x="0" y="225778"/>
                  </a:lnTo>
                  <a:close/>
                </a:path>
              </a:pathLst>
            </a:custGeom>
            <a:solidFill>
              <a:srgbClr val="B51F19"/>
            </a:solidFill>
          </p:spPr>
        </p:sp>
        <p:sp>
          <p:nvSpPr>
            <p:cNvPr id="34" name="TextBox 14">
              <a:extLst>
                <a:ext uri="{FF2B5EF4-FFF2-40B4-BE49-F238E27FC236}">
                  <a16:creationId xmlns:a16="http://schemas.microsoft.com/office/drawing/2014/main" id="{D66A0C6B-180A-4EFB-8BAB-DDCEA130D808}"/>
                </a:ext>
              </a:extLst>
            </p:cNvPr>
            <p:cNvSpPr txBox="1"/>
            <p:nvPr/>
          </p:nvSpPr>
          <p:spPr>
            <a:xfrm>
              <a:off x="0" y="169970"/>
              <a:ext cx="1304494" cy="282928"/>
            </a:xfrm>
            <a:prstGeom prst="rect">
              <a:avLst/>
            </a:prstGeom>
          </p:spPr>
          <p:txBody>
            <a:bodyPr lIns="33867" tIns="33867" rIns="33867" bIns="33867" rtlCol="0" anchor="ctr"/>
            <a:lstStyle/>
            <a:p>
              <a:pPr algn="ctr">
                <a:lnSpc>
                  <a:spcPts val="2333"/>
                </a:lnSpc>
              </a:pPr>
              <a:r>
                <a:rPr lang="en-US" sz="1200" dirty="0">
                  <a:solidFill>
                    <a:srgbClr val="FFFFFF"/>
                  </a:solidFill>
                  <a:latin typeface="Public Sans"/>
                  <a:ea typeface="Public Sans"/>
                  <a:cs typeface="Public Sans"/>
                  <a:sym typeface="Public Sans"/>
                </a:rPr>
                <a:t>www.ohiotechnet.org</a:t>
              </a:r>
            </a:p>
          </p:txBody>
        </p:sp>
      </p:grpSp>
      <p:sp>
        <p:nvSpPr>
          <p:cNvPr id="16" name="Freeform 16"/>
          <p:cNvSpPr/>
          <p:nvPr/>
        </p:nvSpPr>
        <p:spPr>
          <a:xfrm>
            <a:off x="8431179" y="6292850"/>
            <a:ext cx="1022096" cy="192921"/>
          </a:xfrm>
          <a:custGeom>
            <a:avLst/>
            <a:gdLst/>
            <a:ahLst/>
            <a:cxnLst/>
            <a:rect l="l" t="t" r="r" b="b"/>
            <a:pathLst>
              <a:path w="1533144" h="289381">
                <a:moveTo>
                  <a:pt x="0" y="0"/>
                </a:moveTo>
                <a:lnTo>
                  <a:pt x="1533144" y="0"/>
                </a:lnTo>
                <a:lnTo>
                  <a:pt x="1533144" y="289381"/>
                </a:lnTo>
                <a:lnTo>
                  <a:pt x="0" y="289381"/>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17" name="Freeform 17"/>
          <p:cNvSpPr/>
          <p:nvPr/>
        </p:nvSpPr>
        <p:spPr>
          <a:xfrm>
            <a:off x="-209136" y="-55324"/>
            <a:ext cx="731562" cy="365781"/>
          </a:xfrm>
          <a:custGeom>
            <a:avLst/>
            <a:gdLst/>
            <a:ahLst/>
            <a:cxnLst/>
            <a:rect l="l" t="t" r="r" b="b"/>
            <a:pathLst>
              <a:path w="1097343" h="548672">
                <a:moveTo>
                  <a:pt x="0" y="0"/>
                </a:moveTo>
                <a:lnTo>
                  <a:pt x="1097343" y="0"/>
                </a:lnTo>
                <a:lnTo>
                  <a:pt x="1097343" y="548671"/>
                </a:lnTo>
                <a:lnTo>
                  <a:pt x="0" y="548671"/>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grpSp>
        <p:nvGrpSpPr>
          <p:cNvPr id="19" name="Group 19"/>
          <p:cNvGrpSpPr/>
          <p:nvPr/>
        </p:nvGrpSpPr>
        <p:grpSpPr>
          <a:xfrm>
            <a:off x="6077306" y="1010596"/>
            <a:ext cx="5614033" cy="4457650"/>
            <a:chOff x="-16421" y="-35208"/>
            <a:chExt cx="727368" cy="630606"/>
          </a:xfrm>
          <a:blipFill>
            <a:blip r:embed="rId11"/>
            <a:stretch>
              <a:fillRect l="-7798" r="-7798"/>
            </a:stretch>
          </a:blipFill>
        </p:grpSpPr>
        <p:sp>
          <p:nvSpPr>
            <p:cNvPr id="20" name="Freeform 20"/>
            <p:cNvSpPr/>
            <p:nvPr/>
          </p:nvSpPr>
          <p:spPr>
            <a:xfrm>
              <a:off x="-16421" y="-35208"/>
              <a:ext cx="727368" cy="630606"/>
            </a:xfrm>
            <a:custGeom>
              <a:avLst/>
              <a:gdLst/>
              <a:ahLst/>
              <a:cxnLst/>
              <a:rect l="l" t="t" r="r" b="b"/>
              <a:pathLst>
                <a:path w="727368" h="630606">
                  <a:moveTo>
                    <a:pt x="727368" y="315303"/>
                  </a:moveTo>
                  <a:lnTo>
                    <a:pt x="524168" y="630606"/>
                  </a:lnTo>
                  <a:lnTo>
                    <a:pt x="203200" y="630606"/>
                  </a:lnTo>
                  <a:lnTo>
                    <a:pt x="0" y="315303"/>
                  </a:lnTo>
                  <a:lnTo>
                    <a:pt x="203200" y="0"/>
                  </a:lnTo>
                  <a:lnTo>
                    <a:pt x="524168" y="0"/>
                  </a:lnTo>
                  <a:lnTo>
                    <a:pt x="727368" y="315303"/>
                  </a:lnTo>
                  <a:close/>
                </a:path>
              </a:pathLst>
            </a:custGeom>
            <a:blipFill dpi="0" rotWithShape="1">
              <a:blip r:embed="rId12"/>
              <a:srcRect/>
              <a:stretch>
                <a:fillRect l="9000" t="6000" r="9000" b="6000"/>
              </a:stretch>
            </a:blipFill>
            <a:ln w="142875" cap="sq">
              <a:solidFill>
                <a:schemeClr val="bg2">
                  <a:lumMod val="50000"/>
                </a:schemeClr>
              </a:solidFill>
              <a:prstDash val="solid"/>
              <a:miter/>
            </a:ln>
          </p:spPr>
          <p:txBody>
            <a:bodyPr/>
            <a:lstStyle/>
            <a:p>
              <a:endParaRPr lang="en-US" dirty="0"/>
            </a:p>
          </p:txBody>
        </p:sp>
      </p:grpSp>
      <p:sp>
        <p:nvSpPr>
          <p:cNvPr id="24" name="Freeform 24"/>
          <p:cNvSpPr/>
          <p:nvPr/>
        </p:nvSpPr>
        <p:spPr>
          <a:xfrm>
            <a:off x="11159067" y="4072998"/>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25" name="Freeform 25"/>
          <p:cNvSpPr/>
          <p:nvPr/>
        </p:nvSpPr>
        <p:spPr>
          <a:xfrm>
            <a:off x="7844679" y="-1161786"/>
            <a:ext cx="2065867" cy="1825709"/>
          </a:xfrm>
          <a:custGeom>
            <a:avLst/>
            <a:gdLst/>
            <a:ahLst/>
            <a:cxnLst/>
            <a:rect l="l" t="t" r="r" b="b"/>
            <a:pathLst>
              <a:path w="3098800" h="2738564">
                <a:moveTo>
                  <a:pt x="0" y="0"/>
                </a:moveTo>
                <a:lnTo>
                  <a:pt x="3098800" y="0"/>
                </a:lnTo>
                <a:lnTo>
                  <a:pt x="3098800" y="2738565"/>
                </a:lnTo>
                <a:lnTo>
                  <a:pt x="0" y="273856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26" name="Freeform 26"/>
          <p:cNvSpPr/>
          <p:nvPr/>
        </p:nvSpPr>
        <p:spPr>
          <a:xfrm>
            <a:off x="11695938" y="6558729"/>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28" name="TextBox 28"/>
          <p:cNvSpPr txBox="1"/>
          <p:nvPr/>
        </p:nvSpPr>
        <p:spPr>
          <a:xfrm>
            <a:off x="970526" y="1931376"/>
            <a:ext cx="5074105" cy="2339102"/>
          </a:xfrm>
          <a:prstGeom prst="rect">
            <a:avLst/>
          </a:prstGeom>
        </p:spPr>
        <p:txBody>
          <a:bodyPr wrap="square" lIns="0" tIns="0" rIns="0" bIns="0" rtlCol="0" anchor="t">
            <a:spAutoFit/>
          </a:bodyPr>
          <a:lstStyle/>
          <a:p>
            <a:r>
              <a:rPr lang="en-US" sz="4800" b="1" dirty="0">
                <a:solidFill>
                  <a:srgbClr val="1D1A1B"/>
                </a:solidFill>
                <a:latin typeface="Aptos" panose="020B0004020202020204" pitchFamily="34" charset="0"/>
                <a:ea typeface="Archivo Black"/>
                <a:cs typeface="Archivo Black"/>
                <a:sym typeface="Archivo Black"/>
              </a:rPr>
              <a:t>Ohio TechNet Monthly Meeting</a:t>
            </a:r>
          </a:p>
          <a:p>
            <a:endParaRPr lang="en-US" sz="3200" b="1" dirty="0">
              <a:solidFill>
                <a:srgbClr val="1D1A1B"/>
              </a:solidFill>
              <a:latin typeface="Aptos" panose="020B0004020202020204" pitchFamily="34" charset="0"/>
              <a:ea typeface="Archivo Black"/>
              <a:cs typeface="Archivo Black"/>
              <a:sym typeface="Archivo Black"/>
            </a:endParaRPr>
          </a:p>
          <a:p>
            <a:r>
              <a:rPr lang="en-US" sz="2400" b="1" dirty="0">
                <a:solidFill>
                  <a:srgbClr val="1D1A1B"/>
                </a:solidFill>
                <a:latin typeface="Aptos"/>
                <a:ea typeface="Archivo Black"/>
                <a:cs typeface="Archivo Black"/>
                <a:sym typeface="Archivo Black"/>
              </a:rPr>
              <a:t>APRIL 2025</a:t>
            </a:r>
            <a:endParaRPr lang="en-US" sz="2400" b="1" dirty="0">
              <a:solidFill>
                <a:srgbClr val="1D1A1B"/>
              </a:solidFill>
              <a:latin typeface="Aptos" panose="020B0004020202020204" pitchFamily="34" charset="0"/>
              <a:ea typeface="Archivo Black"/>
              <a:cs typeface="Archivo Black"/>
              <a:sym typeface="Archivo Black"/>
            </a:endParaRPr>
          </a:p>
        </p:txBody>
      </p:sp>
      <p:sp>
        <p:nvSpPr>
          <p:cNvPr id="30" name="TextBox 30"/>
          <p:cNvSpPr txBox="1"/>
          <p:nvPr/>
        </p:nvSpPr>
        <p:spPr>
          <a:xfrm>
            <a:off x="811625" y="5854711"/>
            <a:ext cx="3302000" cy="277640"/>
          </a:xfrm>
          <a:prstGeom prst="rect">
            <a:avLst/>
          </a:prstGeom>
        </p:spPr>
        <p:txBody>
          <a:bodyPr lIns="0" tIns="0" rIns="0" bIns="0" rtlCol="0" anchor="t">
            <a:spAutoFit/>
          </a:bodyPr>
          <a:lstStyle/>
          <a:p>
            <a:pPr>
              <a:lnSpc>
                <a:spcPts val="2333"/>
              </a:lnSpc>
            </a:pPr>
            <a:r>
              <a:rPr lang="en-US" sz="1650" b="1" dirty="0">
                <a:solidFill>
                  <a:srgbClr val="1D1A1B"/>
                </a:solidFill>
                <a:ea typeface="Public Sans Bold"/>
                <a:cs typeface="Public Sans Bold"/>
                <a:sym typeface="Public Sans Bold"/>
              </a:rPr>
              <a:t>Date:</a:t>
            </a:r>
            <a:r>
              <a:rPr lang="en-US" sz="1650" dirty="0">
                <a:solidFill>
                  <a:srgbClr val="1D1A1B"/>
                </a:solidFill>
                <a:ea typeface="Public Sans"/>
                <a:cs typeface="Public Sans"/>
                <a:sym typeface="Public Sans"/>
              </a:rPr>
              <a:t> April 15, 2025</a:t>
            </a:r>
          </a:p>
        </p:txBody>
      </p:sp>
      <p:sp>
        <p:nvSpPr>
          <p:cNvPr id="32" name="Freeform 32"/>
          <p:cNvSpPr/>
          <p:nvPr/>
        </p:nvSpPr>
        <p:spPr>
          <a:xfrm>
            <a:off x="-1856955" y="6651620"/>
            <a:ext cx="7622848" cy="862585"/>
          </a:xfrm>
          <a:custGeom>
            <a:avLst/>
            <a:gdLst/>
            <a:ahLst/>
            <a:cxnLst/>
            <a:rect l="l" t="t" r="r" b="b"/>
            <a:pathLst>
              <a:path w="11434272" h="1293877">
                <a:moveTo>
                  <a:pt x="0" y="0"/>
                </a:moveTo>
                <a:lnTo>
                  <a:pt x="11434272" y="0"/>
                </a:lnTo>
                <a:lnTo>
                  <a:pt x="11434272" y="1293877"/>
                </a:lnTo>
                <a:lnTo>
                  <a:pt x="0" y="1293877"/>
                </a:lnTo>
                <a:lnTo>
                  <a:pt x="0" y="0"/>
                </a:lnTo>
                <a:close/>
              </a:path>
            </a:pathLst>
          </a:custGeom>
          <a:blipFill>
            <a:blip r:embed="rId17">
              <a:extLst>
                <a:ext uri="{96DAC541-7B7A-43D3-8B79-37D633B846F1}">
                  <asvg:svgBlip xmlns:asvg="http://schemas.microsoft.com/office/drawing/2016/SVG/main" r:embed="rId18"/>
                </a:ext>
              </a:extLst>
            </a:blip>
            <a:stretch>
              <a:fillRect t="-483256"/>
            </a:stretch>
          </a:blipFill>
        </p:spPr>
      </p:sp>
      <p:sp>
        <p:nvSpPr>
          <p:cNvPr id="33" name="Freeform 33"/>
          <p:cNvSpPr/>
          <p:nvPr/>
        </p:nvSpPr>
        <p:spPr>
          <a:xfrm>
            <a:off x="-338927" y="5851492"/>
            <a:ext cx="1168660" cy="1006508"/>
          </a:xfrm>
          <a:custGeom>
            <a:avLst/>
            <a:gdLst/>
            <a:ahLst/>
            <a:cxnLst/>
            <a:rect l="l" t="t" r="r" b="b"/>
            <a:pathLst>
              <a:path w="1752990" h="1509762">
                <a:moveTo>
                  <a:pt x="0" y="0"/>
                </a:moveTo>
                <a:lnTo>
                  <a:pt x="1752990" y="0"/>
                </a:lnTo>
                <a:lnTo>
                  <a:pt x="1752990" y="1509762"/>
                </a:lnTo>
                <a:lnTo>
                  <a:pt x="0" y="1509762"/>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sp>
      <p:pic>
        <p:nvPicPr>
          <p:cNvPr id="35" name="Picture 34">
            <a:extLst>
              <a:ext uri="{FF2B5EF4-FFF2-40B4-BE49-F238E27FC236}">
                <a16:creationId xmlns:a16="http://schemas.microsoft.com/office/drawing/2014/main" id="{8F882295-5F48-46CD-BF79-69DDACF02678}"/>
              </a:ext>
            </a:extLst>
          </p:cNvPr>
          <p:cNvPicPr>
            <a:picLocks noChangeAspect="1"/>
          </p:cNvPicPr>
          <p:nvPr/>
        </p:nvPicPr>
        <p:blipFill>
          <a:blip r:embed="rId21">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003501" y="133758"/>
            <a:ext cx="2405750" cy="642213"/>
          </a:xfrm>
          <a:prstGeom prst="rect">
            <a:avLst/>
          </a:prstGeom>
        </p:spPr>
      </p:pic>
      <p:sp>
        <p:nvSpPr>
          <p:cNvPr id="31" name="Hexagon 30">
            <a:extLst>
              <a:ext uri="{FF2B5EF4-FFF2-40B4-BE49-F238E27FC236}">
                <a16:creationId xmlns:a16="http://schemas.microsoft.com/office/drawing/2014/main" id="{6926DC36-CF0D-4310-BD0A-2E11D81DDB7B}"/>
              </a:ext>
            </a:extLst>
          </p:cNvPr>
          <p:cNvSpPr/>
          <p:nvPr/>
        </p:nvSpPr>
        <p:spPr>
          <a:xfrm>
            <a:off x="9850438" y="4091775"/>
            <a:ext cx="2065866" cy="1825709"/>
          </a:xfrm>
          <a:prstGeom prst="hexagon">
            <a:avLst/>
          </a:prstGeom>
          <a:blipFill>
            <a:blip r:embed="rId22"/>
            <a:stretch>
              <a:fillRect l="-7798" r="-7798"/>
            </a:stretch>
          </a:blipFill>
          <a:ln w="762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7" name="Freeform 27"/>
          <p:cNvSpPr/>
          <p:nvPr/>
        </p:nvSpPr>
        <p:spPr>
          <a:xfrm>
            <a:off x="9421356" y="4551867"/>
            <a:ext cx="1172020" cy="1124963"/>
          </a:xfrm>
          <a:custGeom>
            <a:avLst/>
            <a:gdLst/>
            <a:ahLst/>
            <a:cxnLst/>
            <a:rect l="l" t="t" r="r" b="b"/>
            <a:pathLst>
              <a:path w="2093087" h="2098333">
                <a:moveTo>
                  <a:pt x="0" y="0"/>
                </a:moveTo>
                <a:lnTo>
                  <a:pt x="2093087" y="0"/>
                </a:lnTo>
                <a:lnTo>
                  <a:pt x="2093087" y="2098332"/>
                </a:lnTo>
                <a:lnTo>
                  <a:pt x="0" y="2098332"/>
                </a:lnTo>
                <a:lnTo>
                  <a:pt x="0" y="0"/>
                </a:lnTo>
                <a:close/>
              </a:path>
            </a:pathLst>
          </a:custGeom>
          <a:blipFill>
            <a:blip r:embed="rId23">
              <a:extLst>
                <a:ext uri="{96DAC541-7B7A-43D3-8B79-37D633B846F1}">
                  <asvg:svgBlip xmlns:asvg="http://schemas.microsoft.com/office/drawing/2016/SVG/main" r:embed="rId24"/>
                </a:ext>
              </a:extLst>
            </a:blip>
            <a:stretch>
              <a:fillRect/>
            </a:stretch>
          </a:blipFill>
        </p:spPr>
      </p:sp>
      <p:sp>
        <p:nvSpPr>
          <p:cNvPr id="15" name="TextBox 14">
            <a:extLst>
              <a:ext uri="{FF2B5EF4-FFF2-40B4-BE49-F238E27FC236}">
                <a16:creationId xmlns:a16="http://schemas.microsoft.com/office/drawing/2014/main" id="{1C189053-3F90-3D5A-A734-A5DF8437815E}"/>
              </a:ext>
            </a:extLst>
          </p:cNvPr>
          <p:cNvSpPr txBox="1"/>
          <p:nvPr/>
        </p:nvSpPr>
        <p:spPr>
          <a:xfrm>
            <a:off x="970526" y="760104"/>
            <a:ext cx="3914169" cy="307777"/>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r>
              <a:rPr lang="en-US" sz="1600" b="1" dirty="0">
                <a:latin typeface="Aptos" panose="020B0004020202020204" pitchFamily="34" charset="0"/>
                <a:ea typeface="Calibri"/>
                <a:cs typeface="Calibri"/>
              </a:rPr>
              <a:t>Ohio Technical Skills Innovation Network</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8D6F56B-3B13-E239-33DA-9EBCBE6B461A}"/>
              </a:ext>
            </a:extLst>
          </p:cNvPr>
          <p:cNvSpPr txBox="1"/>
          <p:nvPr/>
        </p:nvSpPr>
        <p:spPr>
          <a:xfrm>
            <a:off x="5856551" y="2639506"/>
            <a:ext cx="5441197" cy="3492708"/>
          </a:xfrm>
          <a:prstGeom prst="rect">
            <a:avLst/>
          </a:prstGeom>
        </p:spPr>
        <p:txBody>
          <a:bodyPr vert="horz" lIns="91440" tIns="45720" rIns="91440" bIns="45720" rtlCol="0">
            <a:normAutofit/>
          </a:body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F4443"/>
                </a:solidFill>
                <a:effectLst/>
                <a:uLnTx/>
                <a:uFillTx/>
                <a:latin typeface="Buckeye Sans 2" pitchFamily="2" charset="0"/>
                <a:ea typeface="+mn-ea"/>
                <a:cs typeface="+mn-cs"/>
              </a:rPr>
              <a:t>BS Mechanical Engineering, MA Workforce Development and Education</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F4443"/>
                </a:solidFill>
                <a:effectLst/>
                <a:uLnTx/>
                <a:uFillTx/>
                <a:latin typeface="Buckeye Sans 2" pitchFamily="2" charset="0"/>
                <a:ea typeface="+mn-ea"/>
                <a:cs typeface="+mn-cs"/>
              </a:rPr>
              <a:t>High School Instructor – Tolles Career and Technical Center</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F4443"/>
                </a:solidFill>
                <a:effectLst/>
                <a:uLnTx/>
                <a:uFillTx/>
                <a:latin typeface="Buckeye Sans 2" pitchFamily="2" charset="0"/>
                <a:ea typeface="+mn-ea"/>
                <a:cs typeface="+mn-cs"/>
              </a:rPr>
              <a:t>Adjunct Professor – CSCC and Clark State College</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F4443"/>
                </a:solidFill>
                <a:effectLst/>
                <a:uLnTx/>
                <a:uFillTx/>
                <a:latin typeface="Buckeye Sans 2" pitchFamily="2" charset="0"/>
                <a:ea typeface="+mn-ea"/>
                <a:cs typeface="+mn-cs"/>
              </a:rPr>
              <a:t>Application, Combustion, Design Engineer</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F4443"/>
                </a:solidFill>
                <a:effectLst/>
                <a:uLnTx/>
                <a:uFillTx/>
                <a:latin typeface="Buckeye Sans 2" pitchFamily="2" charset="0"/>
                <a:ea typeface="+mn-ea"/>
                <a:cs typeface="+mn-cs"/>
              </a:rPr>
              <a:t>Plant Manager</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F4443"/>
                </a:solidFill>
                <a:effectLst/>
                <a:uLnTx/>
                <a:uFillTx/>
                <a:latin typeface="Buckeye Sans 2" pitchFamily="2" charset="0"/>
                <a:ea typeface="+mn-ea"/>
                <a:cs typeface="+mn-cs"/>
              </a:rPr>
              <a:t>Director of MELD @ CDME</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1600" b="0" i="0" u="none" strike="noStrike" kern="1200" cap="none" spc="0" normalizeH="0" baseline="0" noProof="0" dirty="0">
              <a:ln>
                <a:noFill/>
              </a:ln>
              <a:solidFill>
                <a:srgbClr val="3F4443"/>
              </a:solidFill>
              <a:effectLst/>
              <a:uLnTx/>
              <a:uFillTx/>
              <a:latin typeface="Buckeye Sans 2" pitchFamily="2" charset="0"/>
              <a:ea typeface="+mn-ea"/>
              <a:cs typeface="+mn-cs"/>
            </a:endParaRPr>
          </a:p>
        </p:txBody>
      </p:sp>
      <p:pic>
        <p:nvPicPr>
          <p:cNvPr id="16" name="Picture Placeholder 15" descr="A person and person with dogs and a christmas tree&#10;&#10;Description automatically generated">
            <a:extLst>
              <a:ext uri="{FF2B5EF4-FFF2-40B4-BE49-F238E27FC236}">
                <a16:creationId xmlns:a16="http://schemas.microsoft.com/office/drawing/2014/main" id="{55E9FDAA-23F1-A553-D726-9EFA570AC0DA}"/>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t="38254" b="18552"/>
          <a:stretch/>
        </p:blipFill>
        <p:spPr>
          <a:xfrm>
            <a:off x="396875" y="427038"/>
            <a:ext cx="4572000" cy="2962275"/>
          </a:xfrm>
        </p:spPr>
      </p:pic>
      <p:pic>
        <p:nvPicPr>
          <p:cNvPr id="5" name="Picture 4" descr="A couple of men in suits holding a trophy&#10;&#10;Description automatically generated">
            <a:extLst>
              <a:ext uri="{FF2B5EF4-FFF2-40B4-BE49-F238E27FC236}">
                <a16:creationId xmlns:a16="http://schemas.microsoft.com/office/drawing/2014/main" id="{99A9FD98-36E3-AE8F-57D9-D4272F0332A5}"/>
              </a:ext>
            </a:extLst>
          </p:cNvPr>
          <p:cNvPicPr>
            <a:picLocks noChangeAspect="1"/>
          </p:cNvPicPr>
          <p:nvPr/>
        </p:nvPicPr>
        <p:blipFill>
          <a:blip r:embed="rId4"/>
          <a:srcRect l="20118" r="24466" b="2"/>
          <a:stretch/>
        </p:blipFill>
        <p:spPr>
          <a:xfrm>
            <a:off x="396873" y="3389014"/>
            <a:ext cx="2286000" cy="2743200"/>
          </a:xfrm>
          <a:prstGeom prst="rect">
            <a:avLst/>
          </a:prstGeom>
          <a:noFill/>
        </p:spPr>
      </p:pic>
      <p:pic>
        <p:nvPicPr>
          <p:cNvPr id="4" name="Picture 3" descr="A person wearing glasses and a black shirt&#10;&#10;Description automatically generated">
            <a:extLst>
              <a:ext uri="{FF2B5EF4-FFF2-40B4-BE49-F238E27FC236}">
                <a16:creationId xmlns:a16="http://schemas.microsoft.com/office/drawing/2014/main" id="{CBF96682-76A6-F70D-DD73-5CEE9A820044}"/>
              </a:ext>
            </a:extLst>
          </p:cNvPr>
          <p:cNvPicPr>
            <a:picLocks noChangeAspect="1"/>
          </p:cNvPicPr>
          <p:nvPr/>
        </p:nvPicPr>
        <p:blipFill>
          <a:blip r:embed="rId5"/>
          <a:srcRect b="10000"/>
          <a:stretch/>
        </p:blipFill>
        <p:spPr>
          <a:xfrm>
            <a:off x="2682873" y="3389014"/>
            <a:ext cx="2286000" cy="2743200"/>
          </a:xfrm>
          <a:prstGeom prst="rect">
            <a:avLst/>
          </a:prstGeom>
          <a:noFill/>
        </p:spPr>
      </p:pic>
      <p:sp>
        <p:nvSpPr>
          <p:cNvPr id="2" name="Title 1">
            <a:extLst>
              <a:ext uri="{FF2B5EF4-FFF2-40B4-BE49-F238E27FC236}">
                <a16:creationId xmlns:a16="http://schemas.microsoft.com/office/drawing/2014/main" id="{BD402E0A-BFE0-09BD-E384-4BD17ECABE91}"/>
              </a:ext>
            </a:extLst>
          </p:cNvPr>
          <p:cNvSpPr>
            <a:spLocks noGrp="1"/>
          </p:cNvSpPr>
          <p:nvPr>
            <p:ph type="title"/>
          </p:nvPr>
        </p:nvSpPr>
        <p:spPr>
          <a:xfrm>
            <a:off x="5856551" y="1806161"/>
            <a:ext cx="5441196" cy="720224"/>
          </a:xfrm>
        </p:spPr>
        <p:txBody>
          <a:bodyPr vert="horz" lIns="91440" tIns="45720" rIns="91440" bIns="45720" rtlCol="0" anchor="t">
            <a:normAutofit/>
          </a:bodyPr>
          <a:lstStyle/>
          <a:p>
            <a:r>
              <a:rPr lang="en-US" kern="1200" dirty="0">
                <a:latin typeface="Buckeye Serif 2 Black" pitchFamily="2" charset="0"/>
                <a:ea typeface="+mj-ea"/>
                <a:cs typeface="+mj-cs"/>
              </a:rPr>
              <a:t>Ryan Petitti</a:t>
            </a:r>
          </a:p>
        </p:txBody>
      </p:sp>
    </p:spTree>
    <p:extLst>
      <p:ext uri="{BB962C8B-B14F-4D97-AF65-F5344CB8AC3E}">
        <p14:creationId xmlns:p14="http://schemas.microsoft.com/office/powerpoint/2010/main" val="31657612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15380B-AC6D-4EF6-A95E-C2B66B974671}"/>
              </a:ext>
            </a:extLst>
          </p:cNvPr>
          <p:cNvSpPr>
            <a:spLocks noGrp="1"/>
          </p:cNvSpPr>
          <p:nvPr>
            <p:ph sz="half" idx="13"/>
          </p:nvPr>
        </p:nvSpPr>
        <p:spPr>
          <a:xfrm>
            <a:off x="5856551" y="2732567"/>
            <a:ext cx="5441197" cy="3439633"/>
          </a:xfrm>
        </p:spPr>
        <p:txBody>
          <a:bodyPr/>
          <a:lstStyle/>
          <a:p>
            <a:pPr>
              <a:lnSpc>
                <a:spcPct val="120000"/>
              </a:lnSpc>
              <a:spcBef>
                <a:spcPts val="1200"/>
              </a:spcBef>
            </a:pPr>
            <a:r>
              <a:rPr lang="en-US" sz="1400" dirty="0">
                <a:solidFill>
                  <a:srgbClr val="666666"/>
                </a:solidFill>
              </a:rPr>
              <a:t>Applied Research and Engineering Center with a Mission of </a:t>
            </a:r>
            <a:r>
              <a:rPr lang="en-US" sz="1400" b="1" dirty="0">
                <a:solidFill>
                  <a:srgbClr val="666666"/>
                </a:solidFill>
              </a:rPr>
              <a:t>Advancing the Manufacturing Competitiveness of the United States</a:t>
            </a:r>
          </a:p>
          <a:p>
            <a:pPr>
              <a:lnSpc>
                <a:spcPct val="120000"/>
              </a:lnSpc>
              <a:spcBef>
                <a:spcPts val="1200"/>
              </a:spcBef>
              <a:tabLst>
                <a:tab pos="514350" algn="l"/>
              </a:tabLst>
            </a:pPr>
            <a:r>
              <a:rPr lang="en-US" sz="1400" dirty="0">
                <a:solidFill>
                  <a:srgbClr val="666666"/>
                </a:solidFill>
              </a:rPr>
              <a:t>CDME ‘Feels’ like a Manufacturing Environment</a:t>
            </a:r>
            <a:br>
              <a:rPr lang="en-US" sz="1400" dirty="0">
                <a:solidFill>
                  <a:srgbClr val="666666"/>
                </a:solidFill>
              </a:rPr>
            </a:br>
            <a:r>
              <a:rPr lang="en-US" sz="1400" dirty="0">
                <a:solidFill>
                  <a:srgbClr val="666666"/>
                </a:solidFill>
              </a:rPr>
              <a:t>	- Multidisciplinary Project Teams</a:t>
            </a:r>
            <a:br>
              <a:rPr lang="en-US" sz="1400" dirty="0">
                <a:solidFill>
                  <a:srgbClr val="666666"/>
                </a:solidFill>
              </a:rPr>
            </a:br>
            <a:r>
              <a:rPr lang="en-US" sz="1400" dirty="0">
                <a:solidFill>
                  <a:srgbClr val="666666"/>
                </a:solidFill>
              </a:rPr>
              <a:t>	- Timeline and Deliverable Driven</a:t>
            </a:r>
            <a:br>
              <a:rPr lang="en-US" sz="1400" dirty="0">
                <a:solidFill>
                  <a:srgbClr val="666666"/>
                </a:solidFill>
              </a:rPr>
            </a:br>
            <a:r>
              <a:rPr lang="en-US" sz="1400" dirty="0">
                <a:solidFill>
                  <a:srgbClr val="666666"/>
                </a:solidFill>
              </a:rPr>
              <a:t>	- Apprentice-Style Mentorship</a:t>
            </a:r>
          </a:p>
          <a:p>
            <a:pPr>
              <a:lnSpc>
                <a:spcPct val="120000"/>
              </a:lnSpc>
              <a:spcBef>
                <a:spcPts val="1200"/>
              </a:spcBef>
            </a:pPr>
            <a:r>
              <a:rPr lang="en-US" sz="1400" dirty="0">
                <a:solidFill>
                  <a:srgbClr val="666666"/>
                </a:solidFill>
              </a:rPr>
              <a:t> ~30 Research Staff, 8 Administrative Staff</a:t>
            </a:r>
            <a:br>
              <a:rPr lang="en-US" sz="1400" dirty="0">
                <a:solidFill>
                  <a:srgbClr val="666666"/>
                </a:solidFill>
              </a:rPr>
            </a:br>
            <a:r>
              <a:rPr lang="en-US" sz="1400" dirty="0">
                <a:solidFill>
                  <a:srgbClr val="666666"/>
                </a:solidFill>
              </a:rPr>
              <a:t> ~150 Undergraduate Research Assistants, </a:t>
            </a:r>
            <a:br>
              <a:rPr lang="en-US" sz="1400" dirty="0">
                <a:solidFill>
                  <a:srgbClr val="666666"/>
                </a:solidFill>
              </a:rPr>
            </a:br>
            <a:r>
              <a:rPr lang="en-US" sz="1400" dirty="0">
                <a:solidFill>
                  <a:srgbClr val="666666"/>
                </a:solidFill>
              </a:rPr>
              <a:t>&gt; 250 Affiliated Faculty and Graduate Student</a:t>
            </a:r>
          </a:p>
          <a:p>
            <a:pPr>
              <a:lnSpc>
                <a:spcPct val="120000"/>
              </a:lnSpc>
              <a:spcBef>
                <a:spcPts val="1200"/>
              </a:spcBef>
            </a:pPr>
            <a:r>
              <a:rPr lang="en-US" sz="1400" dirty="0">
                <a:solidFill>
                  <a:srgbClr val="666666"/>
                </a:solidFill>
              </a:rPr>
              <a:t>47,000-ft</a:t>
            </a:r>
            <a:r>
              <a:rPr lang="en-US" sz="1400" baseline="30000" dirty="0">
                <a:solidFill>
                  <a:srgbClr val="666666"/>
                </a:solidFill>
              </a:rPr>
              <a:t>2</a:t>
            </a:r>
            <a:r>
              <a:rPr lang="en-US" sz="1400" dirty="0">
                <a:solidFill>
                  <a:srgbClr val="666666"/>
                </a:solidFill>
              </a:rPr>
              <a:t> ITAR and HIPPA Compliant Facilities</a:t>
            </a:r>
          </a:p>
        </p:txBody>
      </p:sp>
      <p:sp>
        <p:nvSpPr>
          <p:cNvPr id="4" name="Title 3">
            <a:extLst>
              <a:ext uri="{FF2B5EF4-FFF2-40B4-BE49-F238E27FC236}">
                <a16:creationId xmlns:a16="http://schemas.microsoft.com/office/drawing/2014/main" id="{9D7E799B-8253-4761-9FC3-C3CC0C04B2EC}"/>
              </a:ext>
            </a:extLst>
          </p:cNvPr>
          <p:cNvSpPr>
            <a:spLocks noGrp="1"/>
          </p:cNvSpPr>
          <p:nvPr>
            <p:ph type="title"/>
          </p:nvPr>
        </p:nvSpPr>
        <p:spPr>
          <a:xfrm>
            <a:off x="5856551" y="1789512"/>
            <a:ext cx="5441196" cy="798816"/>
          </a:xfrm>
        </p:spPr>
        <p:txBody>
          <a:bodyPr/>
          <a:lstStyle/>
          <a:p>
            <a:r>
              <a:rPr lang="en-US" dirty="0"/>
              <a:t>CDME in a Nutshell</a:t>
            </a:r>
          </a:p>
        </p:txBody>
      </p:sp>
      <p:pic>
        <p:nvPicPr>
          <p:cNvPr id="5" name="Picture 4">
            <a:extLst>
              <a:ext uri="{FF2B5EF4-FFF2-40B4-BE49-F238E27FC236}">
                <a16:creationId xmlns:a16="http://schemas.microsoft.com/office/drawing/2014/main" id="{EE9CDE89-1055-41F0-A3BE-F49AA5586F1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76237" y="381000"/>
            <a:ext cx="4648202" cy="2817024"/>
          </a:xfrm>
          <a:prstGeom prst="rect">
            <a:avLst/>
          </a:prstGeom>
          <a:ln w="12700">
            <a:noFill/>
          </a:ln>
        </p:spPr>
      </p:pic>
      <p:pic>
        <p:nvPicPr>
          <p:cNvPr id="7" name="Picture 6">
            <a:extLst>
              <a:ext uri="{FF2B5EF4-FFF2-40B4-BE49-F238E27FC236}">
                <a16:creationId xmlns:a16="http://schemas.microsoft.com/office/drawing/2014/main" id="{55E9EF87-456D-48F0-B952-4ECB7101F8D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86297" y="3317076"/>
            <a:ext cx="4642903" cy="2830335"/>
          </a:xfrm>
          <a:prstGeom prst="rect">
            <a:avLst/>
          </a:prstGeom>
          <a:ln w="12700">
            <a:noFill/>
          </a:ln>
        </p:spPr>
      </p:pic>
    </p:spTree>
    <p:extLst>
      <p:ext uri="{BB962C8B-B14F-4D97-AF65-F5344CB8AC3E}">
        <p14:creationId xmlns:p14="http://schemas.microsoft.com/office/powerpoint/2010/main" val="23304765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57F65-E47C-E384-48C9-45C9391E07C2}"/>
              </a:ext>
            </a:extLst>
          </p:cNvPr>
          <p:cNvSpPr>
            <a:spLocks noGrp="1"/>
          </p:cNvSpPr>
          <p:nvPr>
            <p:ph type="title"/>
          </p:nvPr>
        </p:nvSpPr>
        <p:spPr>
          <a:xfrm>
            <a:off x="839789" y="1050125"/>
            <a:ext cx="3637944" cy="1325563"/>
          </a:xfrm>
        </p:spPr>
        <p:txBody>
          <a:bodyPr anchor="t">
            <a:normAutofit/>
          </a:bodyPr>
          <a:lstStyle/>
          <a:p>
            <a:r>
              <a:rPr lang="en-US" dirty="0"/>
              <a:t>What is ACE</a:t>
            </a:r>
          </a:p>
        </p:txBody>
      </p:sp>
      <p:sp>
        <p:nvSpPr>
          <p:cNvPr id="3" name="Content Placeholder 2">
            <a:extLst>
              <a:ext uri="{FF2B5EF4-FFF2-40B4-BE49-F238E27FC236}">
                <a16:creationId xmlns:a16="http://schemas.microsoft.com/office/drawing/2014/main" id="{E9803B45-8818-F3F4-01B0-B1ED9A9541FC}"/>
              </a:ext>
            </a:extLst>
          </p:cNvPr>
          <p:cNvSpPr>
            <a:spLocks noGrp="1"/>
          </p:cNvSpPr>
          <p:nvPr>
            <p:ph sz="half" idx="2"/>
          </p:nvPr>
        </p:nvSpPr>
        <p:spPr>
          <a:xfrm>
            <a:off x="839789" y="2479146"/>
            <a:ext cx="3637944" cy="3710517"/>
          </a:xfrm>
        </p:spPr>
        <p:txBody>
          <a:bodyPr>
            <a:normAutofit/>
          </a:bodyPr>
          <a:lstStyle/>
          <a:p>
            <a:pPr marL="285750" indent="-285750">
              <a:buFont typeface="Arial" panose="020B0604020202020204" pitchFamily="34" charset="0"/>
              <a:buChar char="•"/>
            </a:pPr>
            <a:r>
              <a:rPr lang="en-US" dirty="0"/>
              <a:t>Created in 2020 by the Institute for Advanced Composites Manufacturing Innovation (</a:t>
            </a:r>
            <a:r>
              <a:rPr lang="en-US" dirty="0">
                <a:hlinkClick r:id="rId2"/>
              </a:rPr>
              <a:t>IACMI</a:t>
            </a:r>
            <a:r>
              <a:rPr lang="en-US" dirty="0"/>
              <a:t>)</a:t>
            </a:r>
          </a:p>
          <a:p>
            <a:pPr marL="285750" indent="-285750">
              <a:buFont typeface="Arial" panose="020B0604020202020204" pitchFamily="34" charset="0"/>
              <a:buChar char="•"/>
            </a:pPr>
            <a:r>
              <a:rPr lang="en-US" dirty="0"/>
              <a:t>“A lack of investment in machine tool innovation in the U.S. has left domestic manufacturers turning to more cutting-edge, foreign-built products”</a:t>
            </a:r>
          </a:p>
          <a:p>
            <a:pPr marL="285750" indent="-285750">
              <a:buFont typeface="Arial" panose="020B0604020202020204" pitchFamily="34" charset="0"/>
              <a:buChar char="•"/>
            </a:pPr>
            <a:r>
              <a:rPr lang="en-US" dirty="0">
                <a:hlinkClick r:id="rId3"/>
              </a:rPr>
              <a:t>6 hours of online content and 32 hour in person boot camp running equipment</a:t>
            </a:r>
            <a:endParaRPr lang="en-US" dirty="0"/>
          </a:p>
          <a:p>
            <a:pPr marL="285750" indent="-285750">
              <a:buFont typeface="Arial" panose="020B0604020202020204" pitchFamily="34" charset="0"/>
              <a:buChar char="•"/>
            </a:pPr>
            <a:r>
              <a:rPr lang="en-US" dirty="0"/>
              <a:t>Completely free to the participant</a:t>
            </a:r>
          </a:p>
        </p:txBody>
      </p:sp>
      <p:pic>
        <p:nvPicPr>
          <p:cNvPr id="6" name="Picture 5" descr="A map of the united states with red and blue points&#10;&#10;AI-generated content may be incorrect.">
            <a:extLst>
              <a:ext uri="{FF2B5EF4-FFF2-40B4-BE49-F238E27FC236}">
                <a16:creationId xmlns:a16="http://schemas.microsoft.com/office/drawing/2014/main" id="{B4CE0D44-9EB8-833B-690E-6912D780E868}"/>
              </a:ext>
            </a:extLst>
          </p:cNvPr>
          <p:cNvPicPr>
            <a:picLocks noChangeAspect="1"/>
          </p:cNvPicPr>
          <p:nvPr/>
        </p:nvPicPr>
        <p:blipFill>
          <a:blip r:embed="rId4"/>
          <a:stretch>
            <a:fillRect/>
          </a:stretch>
        </p:blipFill>
        <p:spPr>
          <a:xfrm>
            <a:off x="5052618" y="1050126"/>
            <a:ext cx="5663402" cy="5139538"/>
          </a:xfrm>
          <a:prstGeom prst="rect">
            <a:avLst/>
          </a:prstGeom>
          <a:noFill/>
        </p:spPr>
      </p:pic>
    </p:spTree>
    <p:extLst>
      <p:ext uri="{BB962C8B-B14F-4D97-AF65-F5344CB8AC3E}">
        <p14:creationId xmlns:p14="http://schemas.microsoft.com/office/powerpoint/2010/main" val="856927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4A92AF-541C-B2D6-F712-EDFFB9BC8AAF}"/>
              </a:ext>
            </a:extLst>
          </p:cNvPr>
          <p:cNvSpPr>
            <a:spLocks noGrp="1"/>
          </p:cNvSpPr>
          <p:nvPr>
            <p:ph sz="half" idx="13"/>
          </p:nvPr>
        </p:nvSpPr>
        <p:spPr>
          <a:xfrm>
            <a:off x="5856551" y="3242820"/>
            <a:ext cx="5441197" cy="2889393"/>
          </a:xfrm>
        </p:spPr>
        <p:txBody>
          <a:bodyPr>
            <a:normAutofit/>
          </a:bodyPr>
          <a:lstStyle/>
          <a:p>
            <a:pPr marL="285750" indent="-285750">
              <a:buFont typeface="Arial" panose="020B0604020202020204" pitchFamily="34" charset="0"/>
              <a:buChar char="•"/>
            </a:pPr>
            <a:r>
              <a:rPr lang="en-US" sz="1500" dirty="0"/>
              <a:t>Created in 2024 by the Institute for Advanced Composites Manufacturing Innovation (IACMI)</a:t>
            </a:r>
          </a:p>
          <a:p>
            <a:pPr marL="285750" indent="-285750">
              <a:buFont typeface="Arial" panose="020B0604020202020204" pitchFamily="34" charset="0"/>
              <a:buChar char="•"/>
            </a:pPr>
            <a:r>
              <a:rPr lang="en-US" sz="1500" dirty="0"/>
              <a:t>“The shrinking supply chain for critical defense materials demands an immediate response. We must rebuild a modern workforce, technologically adept and capable of meeting the demands of our defense industry with efficiency and innovation”</a:t>
            </a:r>
          </a:p>
          <a:p>
            <a:pPr marL="285750" indent="-285750">
              <a:buFont typeface="Arial" panose="020B0604020202020204" pitchFamily="34" charset="0"/>
              <a:buChar char="•"/>
            </a:pPr>
            <a:r>
              <a:rPr lang="en-US" sz="1500" dirty="0"/>
              <a:t>8 hours of online content and </a:t>
            </a:r>
            <a:r>
              <a:rPr lang="en-US" sz="1500" dirty="0">
                <a:hlinkClick r:id="rId3"/>
              </a:rPr>
              <a:t>32 hour in person boot camp running equipment</a:t>
            </a:r>
            <a:endParaRPr lang="en-US" sz="1500" dirty="0"/>
          </a:p>
          <a:p>
            <a:pPr marL="285750" indent="-285750">
              <a:buFont typeface="Arial" panose="020B0604020202020204" pitchFamily="34" charset="0"/>
              <a:buChar char="•"/>
            </a:pPr>
            <a:r>
              <a:rPr lang="en-US" sz="1500" dirty="0"/>
              <a:t>Also offer</a:t>
            </a:r>
            <a:r>
              <a:rPr lang="en-US" sz="1500" dirty="0">
                <a:hlinkClick r:id="rId4"/>
              </a:rPr>
              <a:t> K-12 workshops</a:t>
            </a:r>
            <a:endParaRPr lang="en-US" sz="1500" dirty="0"/>
          </a:p>
          <a:p>
            <a:pPr marL="285750" indent="-285750">
              <a:buFont typeface="Arial" panose="020B0604020202020204" pitchFamily="34" charset="0"/>
              <a:buChar char="•"/>
            </a:pPr>
            <a:r>
              <a:rPr lang="en-US" sz="1500" dirty="0"/>
              <a:t>Completely free to the participant</a:t>
            </a:r>
          </a:p>
          <a:p>
            <a:endParaRPr lang="en-US" sz="1500" dirty="0"/>
          </a:p>
        </p:txBody>
      </p:sp>
      <p:pic>
        <p:nvPicPr>
          <p:cNvPr id="6" name="Content Placeholder 5" descr="A group of people posing for a photo&#10;&#10;AI-generated content may be incorrect.">
            <a:extLst>
              <a:ext uri="{FF2B5EF4-FFF2-40B4-BE49-F238E27FC236}">
                <a16:creationId xmlns:a16="http://schemas.microsoft.com/office/drawing/2014/main" id="{446A2279-7BF2-7087-A895-8FEA662D65C9}"/>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t="1843" b="1116"/>
          <a:stretch/>
        </p:blipFill>
        <p:spPr>
          <a:xfrm>
            <a:off x="396873" y="427519"/>
            <a:ext cx="4572000" cy="2961495"/>
          </a:xfrm>
          <a:noFill/>
        </p:spPr>
      </p:pic>
      <p:pic>
        <p:nvPicPr>
          <p:cNvPr id="8" name="Picture 7" descr="A group of men looking at a small fish in a box&#10;&#10;AI-generated content may be incorrect.">
            <a:extLst>
              <a:ext uri="{FF2B5EF4-FFF2-40B4-BE49-F238E27FC236}">
                <a16:creationId xmlns:a16="http://schemas.microsoft.com/office/drawing/2014/main" id="{BE68EE7D-63E0-4973-0D50-3DED4256B28D}"/>
              </a:ext>
            </a:extLst>
          </p:cNvPr>
          <p:cNvPicPr>
            <a:picLocks noChangeAspect="1"/>
          </p:cNvPicPr>
          <p:nvPr/>
        </p:nvPicPr>
        <p:blipFill rotWithShape="1">
          <a:blip r:embed="rId6">
            <a:extLst>
              <a:ext uri="{28A0092B-C50C-407E-A947-70E740481C1C}">
                <a14:useLocalDpi xmlns:a14="http://schemas.microsoft.com/office/drawing/2010/main" val="0"/>
              </a:ext>
            </a:extLst>
          </a:blip>
          <a:srcRect l="22846" t="7758" r="27512" b="3001"/>
          <a:stretch/>
        </p:blipFill>
        <p:spPr>
          <a:xfrm>
            <a:off x="396873" y="3389013"/>
            <a:ext cx="2286000" cy="2743200"/>
          </a:xfrm>
          <a:prstGeom prst="rect">
            <a:avLst/>
          </a:prstGeom>
          <a:noFill/>
        </p:spPr>
      </p:pic>
      <p:pic>
        <p:nvPicPr>
          <p:cNvPr id="10" name="Picture Placeholder 9" descr="A person working on a machine&#10;&#10;AI-generated content may be incorrect.">
            <a:extLst>
              <a:ext uri="{FF2B5EF4-FFF2-40B4-BE49-F238E27FC236}">
                <a16:creationId xmlns:a16="http://schemas.microsoft.com/office/drawing/2014/main" id="{C489B87D-8CA2-C022-64E7-2D1BDE4497C0}"/>
              </a:ext>
            </a:extLst>
          </p:cNvPr>
          <p:cNvPicPr>
            <a:picLocks noGrp="1" noChangeAspect="1"/>
          </p:cNvPicPr>
          <p:nvPr>
            <p:ph type="pic" sz="quarter" idx="16"/>
          </p:nvPr>
        </p:nvPicPr>
        <p:blipFill rotWithShape="1">
          <a:blip r:embed="rId7">
            <a:extLst>
              <a:ext uri="{28A0092B-C50C-407E-A947-70E740481C1C}">
                <a14:useLocalDpi xmlns:a14="http://schemas.microsoft.com/office/drawing/2010/main" val="0"/>
              </a:ext>
            </a:extLst>
          </a:blip>
          <a:srcRect l="17052" t="11" r="27392" b="-11"/>
          <a:stretch/>
        </p:blipFill>
        <p:spPr>
          <a:xfrm>
            <a:off x="2682875" y="3389313"/>
            <a:ext cx="2286000" cy="2743200"/>
          </a:xfrm>
        </p:spPr>
      </p:pic>
      <p:sp>
        <p:nvSpPr>
          <p:cNvPr id="2" name="Title 1">
            <a:extLst>
              <a:ext uri="{FF2B5EF4-FFF2-40B4-BE49-F238E27FC236}">
                <a16:creationId xmlns:a16="http://schemas.microsoft.com/office/drawing/2014/main" id="{1C268BCD-DB6C-0598-ADDF-92426D70D24C}"/>
              </a:ext>
            </a:extLst>
          </p:cNvPr>
          <p:cNvSpPr>
            <a:spLocks noGrp="1"/>
          </p:cNvSpPr>
          <p:nvPr>
            <p:ph type="title"/>
          </p:nvPr>
        </p:nvSpPr>
        <p:spPr>
          <a:xfrm>
            <a:off x="5856551" y="1806160"/>
            <a:ext cx="5441196" cy="1325563"/>
          </a:xfrm>
        </p:spPr>
        <p:txBody>
          <a:bodyPr anchor="t">
            <a:normAutofit/>
          </a:bodyPr>
          <a:lstStyle/>
          <a:p>
            <a:r>
              <a:rPr lang="en-US" dirty="0"/>
              <a:t>What is METAL?</a:t>
            </a:r>
          </a:p>
        </p:txBody>
      </p:sp>
    </p:spTree>
    <p:extLst>
      <p:ext uri="{BB962C8B-B14F-4D97-AF65-F5344CB8AC3E}">
        <p14:creationId xmlns:p14="http://schemas.microsoft.com/office/powerpoint/2010/main" val="14805874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F6DF2-F576-98B8-3430-1229BF23EBE7}"/>
              </a:ext>
            </a:extLst>
          </p:cNvPr>
          <p:cNvSpPr>
            <a:spLocks noGrp="1"/>
          </p:cNvSpPr>
          <p:nvPr>
            <p:ph type="title"/>
          </p:nvPr>
        </p:nvSpPr>
        <p:spPr>
          <a:xfrm>
            <a:off x="839789" y="1050125"/>
            <a:ext cx="2086291" cy="1325563"/>
          </a:xfrm>
        </p:spPr>
        <p:txBody>
          <a:bodyPr/>
          <a:lstStyle/>
          <a:p>
            <a:pPr algn="ctr"/>
            <a:r>
              <a:rPr lang="en-US" dirty="0"/>
              <a:t>METAL @ OSU</a:t>
            </a:r>
          </a:p>
        </p:txBody>
      </p:sp>
      <p:pic>
        <p:nvPicPr>
          <p:cNvPr id="8" name="Content Placeholder 7" descr="A qr code on a white background&#10;&#10;AI-generated content may be incorrect.">
            <a:extLst>
              <a:ext uri="{FF2B5EF4-FFF2-40B4-BE49-F238E27FC236}">
                <a16:creationId xmlns:a16="http://schemas.microsoft.com/office/drawing/2014/main" id="{21F20389-392D-F7AE-5114-7D2CFA08E96C}"/>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419439" y="2159148"/>
            <a:ext cx="2857500" cy="2857500"/>
          </a:xfrm>
        </p:spPr>
      </p:pic>
      <p:pic>
        <p:nvPicPr>
          <p:cNvPr id="13" name="Picture 12" descr="A person pouring liquid into buckets&#10;&#10;AI-generated content may be incorrect.">
            <a:extLst>
              <a:ext uri="{FF2B5EF4-FFF2-40B4-BE49-F238E27FC236}">
                <a16:creationId xmlns:a16="http://schemas.microsoft.com/office/drawing/2014/main" id="{F7C77975-91D4-AF42-C9BA-6E5AA0B500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1104" y="946323"/>
            <a:ext cx="7448030" cy="4965353"/>
          </a:xfrm>
          <a:prstGeom prst="rect">
            <a:avLst/>
          </a:prstGeom>
        </p:spPr>
      </p:pic>
      <p:sp>
        <p:nvSpPr>
          <p:cNvPr id="14" name="TextBox 13">
            <a:extLst>
              <a:ext uri="{FF2B5EF4-FFF2-40B4-BE49-F238E27FC236}">
                <a16:creationId xmlns:a16="http://schemas.microsoft.com/office/drawing/2014/main" id="{2784FF1C-B6AA-744A-F33C-0333471DF467}"/>
              </a:ext>
            </a:extLst>
          </p:cNvPr>
          <p:cNvSpPr txBox="1"/>
          <p:nvPr/>
        </p:nvSpPr>
        <p:spPr>
          <a:xfrm>
            <a:off x="1037619" y="4913319"/>
            <a:ext cx="1621139"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proximanova"/>
                <a:ea typeface="+mn-ea"/>
                <a:cs typeface="+mn-cs"/>
              </a:rPr>
              <a:t>June 9-12</a:t>
            </a:r>
            <a:endParaRPr kumimoji="0" lang="en-US" sz="1800" b="0" i="0" u="none" strike="noStrike" kern="1200" cap="none" spc="0" normalizeH="0" baseline="0" noProof="0" dirty="0">
              <a:ln>
                <a:noFill/>
              </a:ln>
              <a:solidFill>
                <a:srgbClr val="333333"/>
              </a:solidFill>
              <a:effectLst/>
              <a:uLnTx/>
              <a:uFillTx/>
              <a:latin typeface="proximanov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proximanova"/>
                <a:ea typeface="+mn-ea"/>
                <a:cs typeface="+mn-cs"/>
              </a:rPr>
              <a:t>June 23-26*</a:t>
            </a:r>
            <a:endParaRPr kumimoji="0" lang="en-US" sz="1800" b="0" i="0" u="none" strike="noStrike" kern="1200" cap="none" spc="0" normalizeH="0" baseline="0" noProof="0" dirty="0">
              <a:ln>
                <a:noFill/>
              </a:ln>
              <a:solidFill>
                <a:srgbClr val="333333"/>
              </a:solidFill>
              <a:effectLst/>
              <a:uLnTx/>
              <a:uFillTx/>
              <a:latin typeface="proximanov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proximanova"/>
                <a:ea typeface="+mn-ea"/>
                <a:cs typeface="+mn-cs"/>
              </a:rPr>
              <a:t>July 14-17*</a:t>
            </a:r>
            <a:endParaRPr kumimoji="0" lang="en-US" sz="1800" b="0" i="0" u="none" strike="noStrike" kern="1200" cap="none" spc="0" normalizeH="0" baseline="0" noProof="0" dirty="0">
              <a:ln>
                <a:noFill/>
              </a:ln>
              <a:solidFill>
                <a:srgbClr val="333333"/>
              </a:solidFill>
              <a:effectLst/>
              <a:uLnTx/>
              <a:uFillTx/>
              <a:latin typeface="proximanov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proximanova"/>
                <a:ea typeface="+mn-ea"/>
                <a:cs typeface="+mn-cs"/>
              </a:rPr>
              <a:t>July 28-31*</a:t>
            </a:r>
            <a:endParaRPr kumimoji="0" lang="en-US" sz="1800" b="0" i="0" u="none" strike="noStrike" kern="1200" cap="none" spc="0" normalizeH="0" baseline="0" noProof="0" dirty="0">
              <a:ln>
                <a:noFill/>
              </a:ln>
              <a:solidFill>
                <a:srgbClr val="333333"/>
              </a:solidFill>
              <a:effectLst/>
              <a:uLnTx/>
              <a:uFillTx/>
              <a:latin typeface="proximanov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4443"/>
              </a:solidFill>
              <a:effectLst/>
              <a:uLnTx/>
              <a:uFillTx/>
              <a:latin typeface="Buckeye Sans"/>
              <a:ea typeface="+mn-ea"/>
              <a:cs typeface="+mn-cs"/>
            </a:endParaRPr>
          </a:p>
        </p:txBody>
      </p:sp>
      <p:sp>
        <p:nvSpPr>
          <p:cNvPr id="15" name="TextBox 14">
            <a:extLst>
              <a:ext uri="{FF2B5EF4-FFF2-40B4-BE49-F238E27FC236}">
                <a16:creationId xmlns:a16="http://schemas.microsoft.com/office/drawing/2014/main" id="{43E13C6C-0CB4-B904-DE35-25F87B845CBF}"/>
              </a:ext>
            </a:extLst>
          </p:cNvPr>
          <p:cNvSpPr txBox="1"/>
          <p:nvPr/>
        </p:nvSpPr>
        <p:spPr>
          <a:xfrm>
            <a:off x="7008729" y="6021315"/>
            <a:ext cx="45204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4443"/>
                </a:solidFill>
                <a:effectLst/>
                <a:uLnTx/>
                <a:uFillTx/>
                <a:latin typeface="Buckeye Sans"/>
                <a:ea typeface="+mn-ea"/>
                <a:cs typeface="+mn-cs"/>
              </a:rPr>
              <a:t>*Housing in University Dorms can be arranged</a:t>
            </a:r>
          </a:p>
        </p:txBody>
      </p:sp>
    </p:spTree>
    <p:extLst>
      <p:ext uri="{BB962C8B-B14F-4D97-AF65-F5344CB8AC3E}">
        <p14:creationId xmlns:p14="http://schemas.microsoft.com/office/powerpoint/2010/main" val="30243975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51B2F-66C0-65A6-862E-28B29A65160B}"/>
              </a:ext>
            </a:extLst>
          </p:cNvPr>
          <p:cNvSpPr>
            <a:spLocks noGrp="1"/>
          </p:cNvSpPr>
          <p:nvPr>
            <p:ph type="title"/>
          </p:nvPr>
        </p:nvSpPr>
        <p:spPr/>
        <p:txBody>
          <a:bodyPr/>
          <a:lstStyle/>
          <a:p>
            <a:r>
              <a:rPr lang="en-US" dirty="0"/>
              <a:t>Questions?</a:t>
            </a:r>
          </a:p>
        </p:txBody>
      </p:sp>
      <p:sp>
        <p:nvSpPr>
          <p:cNvPr id="4" name="Text Placeholder 3">
            <a:extLst>
              <a:ext uri="{FF2B5EF4-FFF2-40B4-BE49-F238E27FC236}">
                <a16:creationId xmlns:a16="http://schemas.microsoft.com/office/drawing/2014/main" id="{14948730-9D48-702B-C43B-D96CFF654266}"/>
              </a:ext>
            </a:extLst>
          </p:cNvPr>
          <p:cNvSpPr>
            <a:spLocks noGrp="1"/>
          </p:cNvSpPr>
          <p:nvPr>
            <p:ph type="body" idx="10"/>
          </p:nvPr>
        </p:nvSpPr>
        <p:spPr/>
        <p:txBody>
          <a:bodyPr>
            <a:normAutofit lnSpcReduction="10000"/>
          </a:bodyPr>
          <a:lstStyle/>
          <a:p>
            <a:r>
              <a:rPr lang="en-US" dirty="0"/>
              <a:t>Ryan Petitti</a:t>
            </a:r>
          </a:p>
        </p:txBody>
      </p:sp>
      <p:sp>
        <p:nvSpPr>
          <p:cNvPr id="5" name="Text Placeholder 4">
            <a:extLst>
              <a:ext uri="{FF2B5EF4-FFF2-40B4-BE49-F238E27FC236}">
                <a16:creationId xmlns:a16="http://schemas.microsoft.com/office/drawing/2014/main" id="{2F513B73-1B9D-9489-F6AA-22A090680EF0}"/>
              </a:ext>
            </a:extLst>
          </p:cNvPr>
          <p:cNvSpPr>
            <a:spLocks noGrp="1"/>
          </p:cNvSpPr>
          <p:nvPr>
            <p:ph type="body" idx="11"/>
          </p:nvPr>
        </p:nvSpPr>
        <p:spPr/>
        <p:txBody>
          <a:bodyPr>
            <a:normAutofit lnSpcReduction="10000"/>
          </a:bodyPr>
          <a:lstStyle/>
          <a:p>
            <a:r>
              <a:rPr lang="en-US" dirty="0"/>
              <a:t>Director of Operations and MELD</a:t>
            </a:r>
          </a:p>
        </p:txBody>
      </p:sp>
      <p:sp>
        <p:nvSpPr>
          <p:cNvPr id="6" name="Text Placeholder 5">
            <a:extLst>
              <a:ext uri="{FF2B5EF4-FFF2-40B4-BE49-F238E27FC236}">
                <a16:creationId xmlns:a16="http://schemas.microsoft.com/office/drawing/2014/main" id="{4EDB1B8A-2F86-A31F-CFB3-C63681712136}"/>
              </a:ext>
            </a:extLst>
          </p:cNvPr>
          <p:cNvSpPr>
            <a:spLocks noGrp="1"/>
          </p:cNvSpPr>
          <p:nvPr>
            <p:ph type="body" idx="12"/>
          </p:nvPr>
        </p:nvSpPr>
        <p:spPr/>
        <p:txBody>
          <a:bodyPr>
            <a:normAutofit lnSpcReduction="10000"/>
          </a:bodyPr>
          <a:lstStyle/>
          <a:p>
            <a:r>
              <a:rPr lang="en-US" dirty="0">
                <a:hlinkClick r:id="rId2"/>
              </a:rPr>
              <a:t>Petitti.9@osu.edu</a:t>
            </a:r>
            <a:r>
              <a:rPr lang="en-US" dirty="0"/>
              <a:t>, 440-371-8305</a:t>
            </a:r>
          </a:p>
        </p:txBody>
      </p:sp>
    </p:spTree>
    <p:extLst>
      <p:ext uri="{BB962C8B-B14F-4D97-AF65-F5344CB8AC3E}">
        <p14:creationId xmlns:p14="http://schemas.microsoft.com/office/powerpoint/2010/main" val="29051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4181" y="-23560"/>
            <a:ext cx="12189266" cy="688156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dirty="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9289" y="112960"/>
            <a:ext cx="2723636" cy="727072"/>
          </a:xfrm>
          <a:prstGeom prst="rect">
            <a:avLst/>
          </a:prstGeom>
        </p:spPr>
      </p:pic>
      <p:sp>
        <p:nvSpPr>
          <p:cNvPr id="8" name="TextBox 7">
            <a:extLst>
              <a:ext uri="{FF2B5EF4-FFF2-40B4-BE49-F238E27FC236}">
                <a16:creationId xmlns:a16="http://schemas.microsoft.com/office/drawing/2014/main" id="{7D5855B0-C4B5-487B-8555-94B567121885}"/>
              </a:ext>
            </a:extLst>
          </p:cNvPr>
          <p:cNvSpPr txBox="1"/>
          <p:nvPr/>
        </p:nvSpPr>
        <p:spPr>
          <a:xfrm>
            <a:off x="-30538" y="999115"/>
            <a:ext cx="5029677" cy="1077218"/>
          </a:xfrm>
          <a:prstGeom prst="rect">
            <a:avLst/>
          </a:prstGeom>
          <a:noFill/>
        </p:spPr>
        <p:txBody>
          <a:bodyPr wrap="square" rtlCol="0">
            <a:spAutoFit/>
          </a:bodyPr>
          <a:lstStyle/>
          <a:p>
            <a:pPr algn="ctr"/>
            <a:r>
              <a:rPr lang="en-US" sz="3200" b="1" dirty="0">
                <a:latin typeface="Aptos" panose="020B0004020202020204" pitchFamily="34" charset="0"/>
                <a:hlinkClick r:id="rId17"/>
              </a:rPr>
              <a:t>Workforce GPS Training: Records Management</a:t>
            </a:r>
            <a:endParaRPr lang="en-US" sz="3200" b="1" dirty="0">
              <a:latin typeface="Aptos" panose="020B0004020202020204" pitchFamily="34" charset="0"/>
            </a:endParaRPr>
          </a:p>
        </p:txBody>
      </p:sp>
      <p:sp>
        <p:nvSpPr>
          <p:cNvPr id="3" name="TextBox 2">
            <a:extLst>
              <a:ext uri="{FF2B5EF4-FFF2-40B4-BE49-F238E27FC236}">
                <a16:creationId xmlns:a16="http://schemas.microsoft.com/office/drawing/2014/main" id="{04DF0E53-7A56-4749-A37D-83315740F715}"/>
              </a:ext>
            </a:extLst>
          </p:cNvPr>
          <p:cNvSpPr txBox="1"/>
          <p:nvPr/>
        </p:nvSpPr>
        <p:spPr>
          <a:xfrm>
            <a:off x="215652" y="2205503"/>
            <a:ext cx="4731546" cy="3416320"/>
          </a:xfrm>
          <a:prstGeom prst="rect">
            <a:avLst/>
          </a:prstGeom>
          <a:noFill/>
        </p:spPr>
        <p:txBody>
          <a:bodyPr wrap="square" rtlCol="0">
            <a:spAutoFit/>
          </a:bodyPr>
          <a:lstStyle/>
          <a:p>
            <a:r>
              <a:rPr lang="en-US" b="1" dirty="0"/>
              <a:t>Record Retention Requirements: </a:t>
            </a:r>
          </a:p>
          <a:p>
            <a:endParaRPr lang="en-US" dirty="0"/>
          </a:p>
          <a:p>
            <a:r>
              <a:rPr lang="en-US" dirty="0"/>
              <a:t>Types of itemized records to be retained:</a:t>
            </a:r>
          </a:p>
          <a:p>
            <a:br>
              <a:rPr lang="en-US" dirty="0"/>
            </a:br>
            <a:r>
              <a:rPr lang="en-US" dirty="0"/>
              <a:t>•Financial records, </a:t>
            </a:r>
          </a:p>
          <a:p>
            <a:r>
              <a:rPr lang="en-US" dirty="0"/>
              <a:t>•Supporting documents, </a:t>
            </a:r>
          </a:p>
          <a:p>
            <a:r>
              <a:rPr lang="en-US" dirty="0"/>
              <a:t>•Statistical records, and; </a:t>
            </a:r>
          </a:p>
          <a:p>
            <a:r>
              <a:rPr lang="en-US" dirty="0"/>
              <a:t>•All recipients and subrecipients records. </a:t>
            </a:r>
          </a:p>
          <a:p>
            <a:endParaRPr lang="en-US" dirty="0"/>
          </a:p>
          <a:p>
            <a:r>
              <a:rPr lang="en-US" dirty="0"/>
              <a:t>Add minimum of 3 years from the date of the FINAL Financial expenditure report.</a:t>
            </a:r>
          </a:p>
          <a:p>
            <a:endParaRPr lang="en-US" dirty="0"/>
          </a:p>
        </p:txBody>
      </p:sp>
      <p:pic>
        <p:nvPicPr>
          <p:cNvPr id="5" name="Picture 4">
            <a:extLst>
              <a:ext uri="{FF2B5EF4-FFF2-40B4-BE49-F238E27FC236}">
                <a16:creationId xmlns:a16="http://schemas.microsoft.com/office/drawing/2014/main" id="{8C4C333D-68CC-4EEE-B43F-1A96C887C675}"/>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5633279" y="864558"/>
            <a:ext cx="3879750" cy="1734405"/>
          </a:xfrm>
          <a:prstGeom prst="rect">
            <a:avLst/>
          </a:prstGeom>
        </p:spPr>
      </p:pic>
      <p:pic>
        <p:nvPicPr>
          <p:cNvPr id="7" name="Picture 6">
            <a:extLst>
              <a:ext uri="{FF2B5EF4-FFF2-40B4-BE49-F238E27FC236}">
                <a16:creationId xmlns:a16="http://schemas.microsoft.com/office/drawing/2014/main" id="{D1D1DBAA-D4F3-4F93-BB4A-62E77D59D45D}"/>
              </a:ext>
            </a:extLst>
          </p:cNvPr>
          <p:cNvPicPr>
            <a:picLocks noChangeAspect="1"/>
          </p:cNvPicPr>
          <p:nvPr/>
        </p:nvPicPr>
        <p:blipFill rotWithShape="1">
          <a:blip r:embed="rId19">
            <a:clrChange>
              <a:clrFrom>
                <a:srgbClr val="FFFFFF"/>
              </a:clrFrom>
              <a:clrTo>
                <a:srgbClr val="FFFFFF">
                  <a:alpha val="0"/>
                </a:srgbClr>
              </a:clrTo>
            </a:clrChange>
          </a:blip>
          <a:srcRect t="15238"/>
          <a:stretch/>
        </p:blipFill>
        <p:spPr>
          <a:xfrm>
            <a:off x="5605293" y="4188661"/>
            <a:ext cx="5306441" cy="2499562"/>
          </a:xfrm>
          <a:prstGeom prst="rect">
            <a:avLst/>
          </a:prstGeom>
        </p:spPr>
      </p:pic>
      <p:pic>
        <p:nvPicPr>
          <p:cNvPr id="10" name="Picture 9">
            <a:extLst>
              <a:ext uri="{FF2B5EF4-FFF2-40B4-BE49-F238E27FC236}">
                <a16:creationId xmlns:a16="http://schemas.microsoft.com/office/drawing/2014/main" id="{F37E6886-D9F7-45C1-A24F-9ED67CF26BFF}"/>
              </a:ext>
            </a:extLst>
          </p:cNvPr>
          <p:cNvPicPr>
            <a:picLocks noChangeAspect="1"/>
          </p:cNvPicPr>
          <p:nvPr/>
        </p:nvPicPr>
        <p:blipFill rotWithShape="1">
          <a:blip r:embed="rId20">
            <a:clrChange>
              <a:clrFrom>
                <a:srgbClr val="FFFFFF"/>
              </a:clrFrom>
              <a:clrTo>
                <a:srgbClr val="FFFFFF">
                  <a:alpha val="0"/>
                </a:srgbClr>
              </a:clrTo>
            </a:clrChange>
          </a:blip>
          <a:srcRect b="13613"/>
          <a:stretch/>
        </p:blipFill>
        <p:spPr>
          <a:xfrm>
            <a:off x="5605293" y="2471548"/>
            <a:ext cx="5167914" cy="1796780"/>
          </a:xfrm>
          <a:prstGeom prst="rect">
            <a:avLst/>
          </a:prstGeom>
        </p:spPr>
      </p:pic>
      <p:pic>
        <p:nvPicPr>
          <p:cNvPr id="12" name="Picture 11">
            <a:extLst>
              <a:ext uri="{FF2B5EF4-FFF2-40B4-BE49-F238E27FC236}">
                <a16:creationId xmlns:a16="http://schemas.microsoft.com/office/drawing/2014/main" id="{F5045762-3A3C-4B26-BF80-CCD59B653FCA}"/>
              </a:ext>
            </a:extLst>
          </p:cNvPr>
          <p:cNvPicPr>
            <a:picLocks noChangeAspect="1"/>
          </p:cNvPicPr>
          <p:nvPr/>
        </p:nvPicPr>
        <p:blipFill>
          <a:blip r:embed="rId21">
            <a:clrChange>
              <a:clrFrom>
                <a:srgbClr val="FFFFFF"/>
              </a:clrFrom>
              <a:clrTo>
                <a:srgbClr val="FFFFFF">
                  <a:alpha val="0"/>
                </a:srgbClr>
              </a:clrTo>
            </a:clrChange>
          </a:blip>
          <a:stretch>
            <a:fillRect/>
          </a:stretch>
        </p:blipFill>
        <p:spPr>
          <a:xfrm>
            <a:off x="9070185" y="1640018"/>
            <a:ext cx="3028946" cy="913492"/>
          </a:xfrm>
          <a:prstGeom prst="rect">
            <a:avLst/>
          </a:prstGeom>
        </p:spPr>
      </p:pic>
    </p:spTree>
    <p:extLst>
      <p:ext uri="{BB962C8B-B14F-4D97-AF65-F5344CB8AC3E}">
        <p14:creationId xmlns:p14="http://schemas.microsoft.com/office/powerpoint/2010/main" val="1872409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4181" y="990"/>
            <a:ext cx="12189266" cy="688156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dirty="0"/>
          </a:p>
        </p:txBody>
      </p:sp>
      <p:pic>
        <p:nvPicPr>
          <p:cNvPr id="12" name="Picture 11">
            <a:extLst>
              <a:ext uri="{FF2B5EF4-FFF2-40B4-BE49-F238E27FC236}">
                <a16:creationId xmlns:a16="http://schemas.microsoft.com/office/drawing/2014/main" id="{F1A125DD-F757-4D18-B7C8-53712B93C693}"/>
              </a:ext>
            </a:extLst>
          </p:cNvPr>
          <p:cNvPicPr>
            <a:picLocks noChangeAspect="1"/>
          </p:cNvPicPr>
          <p:nvPr/>
        </p:nvPicPr>
        <p:blipFill>
          <a:blip r:embed="rId4"/>
          <a:stretch>
            <a:fillRect/>
          </a:stretch>
        </p:blipFill>
        <p:spPr>
          <a:xfrm>
            <a:off x="5526251" y="18419"/>
            <a:ext cx="5849166" cy="6449325"/>
          </a:xfrm>
          <a:prstGeom prst="rect">
            <a:avLst/>
          </a:prstGeom>
          <a:ln w="28575">
            <a:solidFill>
              <a:srgbClr val="E6E6E4"/>
            </a:solidFill>
          </a:ln>
        </p:spPr>
      </p:pic>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5">
              <a:extLst>
                <a:ext uri="{96DAC541-7B7A-43D3-8B79-37D633B846F1}">
                  <asvg:svgBlip xmlns:asvg="http://schemas.microsoft.com/office/drawing/2016/SVG/main" r:embed="rId6"/>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3">
              <a:extLst>
                <a:ext uri="{96DAC541-7B7A-43D3-8B79-37D633B846F1}">
                  <asvg:svgBlip xmlns:asvg="http://schemas.microsoft.com/office/drawing/2016/SVG/main" r:embed="rId14"/>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5">
              <a:extLst>
                <a:ext uri="{96DAC541-7B7A-43D3-8B79-37D633B846F1}">
                  <asvg:svgBlip xmlns:asvg="http://schemas.microsoft.com/office/drawing/2016/SVG/main" r:embed="rId16"/>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7">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9289" y="112960"/>
            <a:ext cx="2723636" cy="727072"/>
          </a:xfrm>
          <a:prstGeom prst="rect">
            <a:avLst/>
          </a:prstGeom>
        </p:spPr>
      </p:pic>
      <p:sp>
        <p:nvSpPr>
          <p:cNvPr id="4" name="TextBox 3">
            <a:extLst>
              <a:ext uri="{FF2B5EF4-FFF2-40B4-BE49-F238E27FC236}">
                <a16:creationId xmlns:a16="http://schemas.microsoft.com/office/drawing/2014/main" id="{F1157732-6C45-4885-A8DE-8584059A281A}"/>
              </a:ext>
            </a:extLst>
          </p:cNvPr>
          <p:cNvSpPr txBox="1"/>
          <p:nvPr/>
        </p:nvSpPr>
        <p:spPr>
          <a:xfrm>
            <a:off x="63715" y="1237799"/>
            <a:ext cx="4897669" cy="1477328"/>
          </a:xfrm>
          <a:prstGeom prst="rect">
            <a:avLst/>
          </a:prstGeom>
          <a:noFill/>
        </p:spPr>
        <p:txBody>
          <a:bodyPr wrap="square" rtlCol="0">
            <a:spAutoFit/>
          </a:bodyPr>
          <a:lstStyle/>
          <a:p>
            <a:r>
              <a:rPr lang="en-US" sz="2400" b="1" dirty="0">
                <a:latin typeface="Aptos" panose="020B0004020202020204" pitchFamily="34" charset="0"/>
              </a:rPr>
              <a:t>Records Retention &amp; </a:t>
            </a:r>
            <a:br>
              <a:rPr lang="en-US" sz="2400" b="1" dirty="0">
                <a:latin typeface="Aptos" panose="020B0004020202020204" pitchFamily="34" charset="0"/>
              </a:rPr>
            </a:br>
            <a:r>
              <a:rPr lang="en-US" sz="2400" b="1" dirty="0">
                <a:latin typeface="Aptos" panose="020B0004020202020204" pitchFamily="34" charset="0"/>
              </a:rPr>
              <a:t>Data Management</a:t>
            </a:r>
            <a:br>
              <a:rPr lang="en-US" sz="2400" b="1" dirty="0">
                <a:latin typeface="Aptos" panose="020B0004020202020204" pitchFamily="34" charset="0"/>
              </a:rPr>
            </a:br>
            <a:endParaRPr lang="en-US" sz="2400" b="1" dirty="0">
              <a:latin typeface="Aptos" panose="020B0004020202020204" pitchFamily="34" charset="0"/>
            </a:endParaRPr>
          </a:p>
          <a:p>
            <a:r>
              <a:rPr lang="en-US" dirty="0">
                <a:latin typeface="Aptos" panose="020B0004020202020204" pitchFamily="34" charset="0"/>
              </a:rPr>
              <a:t>Ohio TechNet can provide technical assistance</a:t>
            </a:r>
          </a:p>
        </p:txBody>
      </p:sp>
      <p:sp>
        <p:nvSpPr>
          <p:cNvPr id="6" name="TextBox 5">
            <a:extLst>
              <a:ext uri="{FF2B5EF4-FFF2-40B4-BE49-F238E27FC236}">
                <a16:creationId xmlns:a16="http://schemas.microsoft.com/office/drawing/2014/main" id="{17064F91-D74D-455F-A4BE-58295E2878F1}"/>
              </a:ext>
            </a:extLst>
          </p:cNvPr>
          <p:cNvSpPr txBox="1"/>
          <p:nvPr/>
        </p:nvSpPr>
        <p:spPr>
          <a:xfrm>
            <a:off x="199513" y="3026424"/>
            <a:ext cx="4130075" cy="2308324"/>
          </a:xfrm>
          <a:prstGeom prst="rect">
            <a:avLst/>
          </a:prstGeom>
          <a:noFill/>
        </p:spPr>
        <p:txBody>
          <a:bodyPr wrap="square" rtlCol="0">
            <a:spAutoFit/>
          </a:bodyPr>
          <a:lstStyle/>
          <a:p>
            <a:pPr marL="285750" indent="-285750">
              <a:buFont typeface="Arial" panose="020B0604020202020204" pitchFamily="34" charset="0"/>
              <a:buChar char="•"/>
            </a:pPr>
            <a:r>
              <a:rPr lang="en-US" sz="2400" dirty="0">
                <a:latin typeface="Aptos" panose="020B0004020202020204" pitchFamily="34" charset="0"/>
              </a:rPr>
              <a:t>Data Management System</a:t>
            </a:r>
          </a:p>
          <a:p>
            <a:pPr marL="285750" indent="-285750">
              <a:buFont typeface="Arial" panose="020B0604020202020204" pitchFamily="34" charset="0"/>
              <a:buChar char="•"/>
            </a:pPr>
            <a:r>
              <a:rPr lang="en-US" sz="2400" dirty="0">
                <a:latin typeface="Aptos" panose="020B0004020202020204" pitchFamily="34" charset="0"/>
              </a:rPr>
              <a:t>Participant Intake Form </a:t>
            </a:r>
          </a:p>
          <a:p>
            <a:pPr marL="285750" indent="-285750">
              <a:buFont typeface="Arial" panose="020B0604020202020204" pitchFamily="34" charset="0"/>
              <a:buChar char="•"/>
            </a:pPr>
            <a:r>
              <a:rPr lang="en-US" sz="2400" dirty="0">
                <a:latin typeface="Aptos" panose="020B0004020202020204" pitchFamily="34" charset="0"/>
              </a:rPr>
              <a:t>Data Sharing Agreement</a:t>
            </a:r>
          </a:p>
          <a:p>
            <a:pPr marL="285750" indent="-285750">
              <a:buFont typeface="Arial" panose="020B0604020202020204" pitchFamily="34" charset="0"/>
              <a:buChar char="•"/>
            </a:pPr>
            <a:r>
              <a:rPr lang="en-US" sz="2400" dirty="0">
                <a:latin typeface="Aptos" panose="020B0004020202020204" pitchFamily="34" charset="0"/>
              </a:rPr>
              <a:t>Data Responsibilities </a:t>
            </a:r>
          </a:p>
          <a:p>
            <a:pPr marL="285750" indent="-285750">
              <a:buFont typeface="Arial" panose="020B0604020202020204" pitchFamily="34" charset="0"/>
              <a:buChar char="•"/>
            </a:pPr>
            <a:r>
              <a:rPr lang="en-US" sz="2400" dirty="0">
                <a:latin typeface="Aptos" panose="020B0004020202020204" pitchFamily="34" charset="0"/>
              </a:rPr>
              <a:t>Data Plan </a:t>
            </a:r>
          </a:p>
          <a:p>
            <a:pPr marL="285750" indent="-285750">
              <a:buFont typeface="Arial" panose="020B0604020202020204" pitchFamily="34" charset="0"/>
              <a:buChar char="•"/>
            </a:pPr>
            <a:r>
              <a:rPr lang="en-US" sz="2400" dirty="0">
                <a:latin typeface="Aptos" panose="020B0004020202020204" pitchFamily="34" charset="0"/>
              </a:rPr>
              <a:t>Data Flow </a:t>
            </a:r>
          </a:p>
        </p:txBody>
      </p:sp>
    </p:spTree>
    <p:extLst>
      <p:ext uri="{BB962C8B-B14F-4D97-AF65-F5344CB8AC3E}">
        <p14:creationId xmlns:p14="http://schemas.microsoft.com/office/powerpoint/2010/main" val="2406507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4181" y="-23560"/>
            <a:ext cx="12189266" cy="688156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dirty="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5" name="TextBox 35"/>
          <p:cNvSpPr txBox="1"/>
          <p:nvPr/>
        </p:nvSpPr>
        <p:spPr>
          <a:xfrm>
            <a:off x="484182" y="790169"/>
            <a:ext cx="5029676" cy="246734"/>
          </a:xfrm>
          <a:prstGeom prst="rect">
            <a:avLst/>
          </a:prstGeom>
        </p:spPr>
        <p:txBody>
          <a:bodyPr wrap="square" lIns="0" tIns="0" rIns="0" bIns="0" rtlCol="0" anchor="t">
            <a:spAutoFit/>
          </a:bodyPr>
          <a:lstStyle/>
          <a:p>
            <a:pPr>
              <a:lnSpc>
                <a:spcPts val="2147"/>
              </a:lnSpc>
            </a:pPr>
            <a:r>
              <a:rPr lang="en-US" sz="1533" dirty="0">
                <a:solidFill>
                  <a:srgbClr val="1D1A1B"/>
                </a:solidFill>
                <a:latin typeface="Public Sans"/>
                <a:ea typeface="Public Sans"/>
                <a:cs typeface="Public Sans"/>
                <a:sym typeface="Public Sans"/>
              </a:rPr>
              <a:t>Partners in Training Ohio’s Manufacturing Workforc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3">
              <a:extLst>
                <a:ext uri="{96DAC541-7B7A-43D3-8B79-37D633B846F1}">
                  <asvg:svgBlip xmlns:asvg="http://schemas.microsoft.com/office/drawing/2016/SVG/main" r:embed="rId4"/>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1">
              <a:extLst>
                <a:ext uri="{96DAC541-7B7A-43D3-8B79-37D633B846F1}">
                  <asvg:svgBlip xmlns:asvg="http://schemas.microsoft.com/office/drawing/2016/SVG/main" r:embed="rId12"/>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3">
              <a:extLst>
                <a:ext uri="{96DAC541-7B7A-43D3-8B79-37D633B846F1}">
                  <asvg:svgBlip xmlns:asvg="http://schemas.microsoft.com/office/drawing/2016/SVG/main" r:embed="rId14"/>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5">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9289" y="112960"/>
            <a:ext cx="2723636" cy="727072"/>
          </a:xfrm>
          <a:prstGeom prst="rect">
            <a:avLst/>
          </a:prstGeom>
        </p:spPr>
      </p:pic>
      <p:pic>
        <p:nvPicPr>
          <p:cNvPr id="34" name="Picture 33" descr="A map of red and blue squares&#10;&#10;Description automatically generated">
            <a:extLst>
              <a:ext uri="{FF2B5EF4-FFF2-40B4-BE49-F238E27FC236}">
                <a16:creationId xmlns:a16="http://schemas.microsoft.com/office/drawing/2014/main" id="{1E2EF3C0-D7CD-4024-85B0-14C675CAAF21}"/>
              </a:ext>
            </a:extLst>
          </p:cNvPr>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59952" y="1266878"/>
            <a:ext cx="4591225" cy="3247096"/>
          </a:xfrm>
          <a:prstGeom prst="rect">
            <a:avLst/>
          </a:prstGeom>
        </p:spPr>
      </p:pic>
      <p:sp>
        <p:nvSpPr>
          <p:cNvPr id="32" name="Rectangle 5">
            <a:extLst>
              <a:ext uri="{FF2B5EF4-FFF2-40B4-BE49-F238E27FC236}">
                <a16:creationId xmlns:a16="http://schemas.microsoft.com/office/drawing/2014/main" id="{E14979EC-AF4B-40CD-9A6B-325E132A7F48}"/>
              </a:ext>
            </a:extLst>
          </p:cNvPr>
          <p:cNvSpPr>
            <a:spLocks noChangeArrowheads="1"/>
          </p:cNvSpPr>
          <p:nvPr/>
        </p:nvSpPr>
        <p:spPr bwMode="auto">
          <a:xfrm>
            <a:off x="248078" y="1666765"/>
            <a:ext cx="7074386" cy="3539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1" rIns="91440" bIns="45721" numCol="1" anchor="ctr" anchorCtr="0" compatLnSpc="1">
            <a:prstTxWarp prst="textNoShape">
              <a:avLst/>
            </a:prstTxWarp>
            <a:spAutoFit/>
          </a:bodyPr>
          <a:lstStyle/>
          <a:p>
            <a:pPr defTabSz="914455" eaLnBrk="0" fontAlgn="base" hangingPunct="0">
              <a:spcBef>
                <a:spcPct val="0"/>
              </a:spcBef>
              <a:spcAft>
                <a:spcPct val="0"/>
              </a:spcAft>
              <a:defRPr/>
            </a:pPr>
            <a:r>
              <a:rPr lang="en-US" altLang="en-US" sz="3200" b="1" dirty="0">
                <a:solidFill>
                  <a:srgbClr val="0E3F75"/>
                </a:solidFill>
                <a:latin typeface="Aptos" panose="020B0004020202020204" pitchFamily="34" charset="0"/>
                <a:ea typeface="Source Sans Pro"/>
                <a:cs typeface="Calibri"/>
              </a:rPr>
              <a:t>Northshore Manufacturing Workforce Partnership (NMWP)</a:t>
            </a:r>
            <a:br>
              <a:rPr lang="en-US" altLang="en-US" sz="2000" b="1" dirty="0">
                <a:solidFill>
                  <a:srgbClr val="0E3F75"/>
                </a:solidFill>
                <a:latin typeface="Aptos" panose="020B0004020202020204" pitchFamily="34" charset="0"/>
                <a:ea typeface="Source Sans Pro"/>
                <a:cs typeface="Calibri"/>
              </a:rPr>
            </a:br>
            <a:endParaRPr lang="en-US" altLang="en-US" sz="2000" b="1" dirty="0">
              <a:solidFill>
                <a:srgbClr val="0E3F75"/>
              </a:solidFill>
              <a:latin typeface="Aptos" panose="020B0004020202020204" pitchFamily="34" charset="0"/>
              <a:ea typeface="Source Sans Pro"/>
              <a:cs typeface="Calibri"/>
            </a:endParaRPr>
          </a:p>
          <a:p>
            <a:pPr defTabSz="914455" eaLnBrk="0" fontAlgn="base" hangingPunct="0">
              <a:spcBef>
                <a:spcPct val="0"/>
              </a:spcBef>
              <a:spcAft>
                <a:spcPct val="0"/>
              </a:spcAft>
              <a:defRPr/>
            </a:pPr>
            <a:r>
              <a:rPr lang="en-US" altLang="en-US" sz="2000" dirty="0">
                <a:latin typeface="Aptos" panose="020B0004020202020204" pitchFamily="34" charset="0"/>
                <a:cs typeface="Calibri" panose="020F0502020204030204" pitchFamily="34" charset="0"/>
              </a:rPr>
              <a:t>Facilitated by the Ohio Technical Skills Innovation Network (Ohio TechNet), five Northeast and Northwest Ohio community colleges have partnered with state and regional industry leaders to drive innovations designed to meet manufacturing workforce needs, supported by a $5.7M investment from the US Department of Labor Strengthening Community Colleges initiative. </a:t>
            </a:r>
            <a:endParaRPr lang="en-US" altLang="en-US" sz="2000" dirty="0">
              <a:latin typeface="Aptos" panose="020B0004020202020204" pitchFamily="34" charset="0"/>
            </a:endParaRPr>
          </a:p>
        </p:txBody>
      </p:sp>
      <p:sp>
        <p:nvSpPr>
          <p:cNvPr id="7" name="TextBox 6">
            <a:extLst>
              <a:ext uri="{FF2B5EF4-FFF2-40B4-BE49-F238E27FC236}">
                <a16:creationId xmlns:a16="http://schemas.microsoft.com/office/drawing/2014/main" id="{35F2B9FC-CF8C-47B7-99DC-7A6E265D2BD4}"/>
              </a:ext>
            </a:extLst>
          </p:cNvPr>
          <p:cNvSpPr txBox="1"/>
          <p:nvPr/>
        </p:nvSpPr>
        <p:spPr>
          <a:xfrm>
            <a:off x="6624832" y="4525175"/>
            <a:ext cx="3901133" cy="400110"/>
          </a:xfrm>
          <a:prstGeom prst="rect">
            <a:avLst/>
          </a:prstGeom>
          <a:noFill/>
        </p:spPr>
        <p:txBody>
          <a:bodyPr wrap="square" rtlCol="0">
            <a:spAutoFit/>
          </a:bodyPr>
          <a:lstStyle/>
          <a:p>
            <a:pPr algn="r"/>
            <a:r>
              <a:rPr lang="en-US" sz="2000" b="1" dirty="0">
                <a:latin typeface="Aptos" panose="020B0004020202020204" pitchFamily="34" charset="0"/>
              </a:rPr>
              <a:t>NMWP Program Area</a:t>
            </a:r>
          </a:p>
        </p:txBody>
      </p:sp>
    </p:spTree>
    <p:extLst>
      <p:ext uri="{BB962C8B-B14F-4D97-AF65-F5344CB8AC3E}">
        <p14:creationId xmlns:p14="http://schemas.microsoft.com/office/powerpoint/2010/main" val="23208504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4181" y="-23560"/>
            <a:ext cx="12189266" cy="688156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dirty="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5" name="TextBox 35"/>
          <p:cNvSpPr txBox="1"/>
          <p:nvPr/>
        </p:nvSpPr>
        <p:spPr>
          <a:xfrm>
            <a:off x="484182" y="790169"/>
            <a:ext cx="5029676" cy="246734"/>
          </a:xfrm>
          <a:prstGeom prst="rect">
            <a:avLst/>
          </a:prstGeom>
        </p:spPr>
        <p:txBody>
          <a:bodyPr wrap="square" lIns="0" tIns="0" rIns="0" bIns="0" rtlCol="0" anchor="t">
            <a:spAutoFit/>
          </a:bodyPr>
          <a:lstStyle/>
          <a:p>
            <a:pPr>
              <a:lnSpc>
                <a:spcPts val="2147"/>
              </a:lnSpc>
            </a:pPr>
            <a:r>
              <a:rPr lang="en-US" sz="1533" dirty="0">
                <a:solidFill>
                  <a:srgbClr val="1D1A1B"/>
                </a:solidFill>
                <a:latin typeface="Public Sans"/>
                <a:ea typeface="Public Sans"/>
                <a:cs typeface="Public Sans"/>
                <a:sym typeface="Public Sans"/>
              </a:rPr>
              <a:t>Partners in Training Ohio’s Manufacturing Workforc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3">
              <a:extLst>
                <a:ext uri="{96DAC541-7B7A-43D3-8B79-37D633B846F1}">
                  <asvg:svgBlip xmlns:asvg="http://schemas.microsoft.com/office/drawing/2016/SVG/main" r:embed="rId4"/>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1">
              <a:extLst>
                <a:ext uri="{96DAC541-7B7A-43D3-8B79-37D633B846F1}">
                  <asvg:svgBlip xmlns:asvg="http://schemas.microsoft.com/office/drawing/2016/SVG/main" r:embed="rId12"/>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3">
              <a:extLst>
                <a:ext uri="{96DAC541-7B7A-43D3-8B79-37D633B846F1}">
                  <asvg:svgBlip xmlns:asvg="http://schemas.microsoft.com/office/drawing/2016/SVG/main" r:embed="rId14"/>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5">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9289" y="112960"/>
            <a:ext cx="2723636" cy="727072"/>
          </a:xfrm>
          <a:prstGeom prst="rect">
            <a:avLst/>
          </a:prstGeom>
        </p:spPr>
      </p:pic>
      <p:pic>
        <p:nvPicPr>
          <p:cNvPr id="5" name="Picture 4">
            <a:extLst>
              <a:ext uri="{FF2B5EF4-FFF2-40B4-BE49-F238E27FC236}">
                <a16:creationId xmlns:a16="http://schemas.microsoft.com/office/drawing/2014/main" id="{19E007F1-CD7C-47F0-BE90-52583A2CBA6F}"/>
              </a:ext>
            </a:extLst>
          </p:cNvPr>
          <p:cNvPicPr>
            <a:picLocks noChangeAspect="1"/>
          </p:cNvPicPr>
          <p:nvPr/>
        </p:nvPicPr>
        <p:blipFill rotWithShape="1">
          <a:blip r:embed="rId16">
            <a:clrChange>
              <a:clrFrom>
                <a:srgbClr val="FFFFFF"/>
              </a:clrFrom>
              <a:clrTo>
                <a:srgbClr val="FFFFFF">
                  <a:alpha val="0"/>
                </a:srgbClr>
              </a:clrTo>
            </a:clrChange>
          </a:blip>
          <a:srcRect t="5666"/>
          <a:stretch/>
        </p:blipFill>
        <p:spPr>
          <a:xfrm>
            <a:off x="4084979" y="1365700"/>
            <a:ext cx="7607517" cy="4050874"/>
          </a:xfrm>
          <a:prstGeom prst="rect">
            <a:avLst/>
          </a:prstGeom>
          <a:ln>
            <a:noFill/>
          </a:ln>
        </p:spPr>
      </p:pic>
      <p:sp>
        <p:nvSpPr>
          <p:cNvPr id="32" name="Rectangle 5">
            <a:extLst>
              <a:ext uri="{FF2B5EF4-FFF2-40B4-BE49-F238E27FC236}">
                <a16:creationId xmlns:a16="http://schemas.microsoft.com/office/drawing/2014/main" id="{E14979EC-AF4B-40CD-9A6B-325E132A7F48}"/>
              </a:ext>
            </a:extLst>
          </p:cNvPr>
          <p:cNvSpPr>
            <a:spLocks noChangeArrowheads="1"/>
          </p:cNvSpPr>
          <p:nvPr/>
        </p:nvSpPr>
        <p:spPr bwMode="auto">
          <a:xfrm>
            <a:off x="146547" y="1368060"/>
            <a:ext cx="3938432" cy="3908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1" rIns="91440" bIns="45721" numCol="1" anchor="ctr" anchorCtr="0" compatLnSpc="1">
            <a:prstTxWarp prst="textNoShape">
              <a:avLst/>
            </a:prstTxWarp>
            <a:spAutoFit/>
          </a:bodyPr>
          <a:lstStyle/>
          <a:p>
            <a:pPr defTabSz="914455" eaLnBrk="0" fontAlgn="base" hangingPunct="0">
              <a:spcBef>
                <a:spcPct val="0"/>
              </a:spcBef>
              <a:spcAft>
                <a:spcPct val="0"/>
              </a:spcAft>
              <a:defRPr/>
            </a:pPr>
            <a:r>
              <a:rPr lang="en-US" altLang="en-US" sz="2400" b="1" dirty="0">
                <a:solidFill>
                  <a:srgbClr val="0E3F75"/>
                </a:solidFill>
                <a:latin typeface="Aptos" panose="020B0004020202020204" pitchFamily="34" charset="0"/>
                <a:ea typeface="Source Sans Pro"/>
                <a:cs typeface="Calibri"/>
              </a:rPr>
              <a:t>Northshore Manufacturing Workforce Partnership (NMWP)</a:t>
            </a:r>
            <a:br>
              <a:rPr lang="en-US" altLang="en-US" sz="1600" b="1" dirty="0">
                <a:solidFill>
                  <a:srgbClr val="0E3F75"/>
                </a:solidFill>
                <a:latin typeface="Aptos" panose="020B0004020202020204" pitchFamily="34" charset="0"/>
                <a:ea typeface="Source Sans Pro"/>
                <a:cs typeface="Calibri"/>
              </a:rPr>
            </a:br>
            <a:endParaRPr lang="en-US" altLang="en-US" sz="1600" b="1" dirty="0">
              <a:solidFill>
                <a:srgbClr val="0E3F75"/>
              </a:solidFill>
              <a:latin typeface="Aptos" panose="020B0004020202020204" pitchFamily="34" charset="0"/>
              <a:ea typeface="Source Sans Pro"/>
              <a:cs typeface="Calibri"/>
            </a:endParaRPr>
          </a:p>
          <a:p>
            <a:pPr defTabSz="914455" eaLnBrk="0" fontAlgn="base" hangingPunct="0">
              <a:spcBef>
                <a:spcPct val="0"/>
              </a:spcBef>
              <a:spcAft>
                <a:spcPct val="0"/>
              </a:spcAft>
              <a:defRPr/>
            </a:pPr>
            <a:r>
              <a:rPr lang="en-US" altLang="en-US" sz="1600" dirty="0">
                <a:latin typeface="Aptos" panose="020B0004020202020204" pitchFamily="34" charset="0"/>
                <a:cs typeface="Calibri" panose="020F0502020204030204" pitchFamily="34" charset="0"/>
              </a:rPr>
              <a:t>Facilitated by the Ohio Technical Skills Innovation Network (Ohio TechNet), five Northeast and Northwest Ohio community colleges have partnered with state and regional industry leaders to drive innovations designed to meet manufacturing workforce needs, supported by a $5.7M investment from the US Department of Labor Strengthening Community Colleges initiative. </a:t>
            </a:r>
            <a:endParaRPr lang="en-US" altLang="en-US" sz="1600" dirty="0">
              <a:latin typeface="Aptos" panose="020B0004020202020204" pitchFamily="34" charset="0"/>
            </a:endParaRPr>
          </a:p>
        </p:txBody>
      </p:sp>
      <p:pic>
        <p:nvPicPr>
          <p:cNvPr id="34" name="Picture 33" descr="A map of red and blue squares&#10;&#10;Description automatically generated">
            <a:extLst>
              <a:ext uri="{FF2B5EF4-FFF2-40B4-BE49-F238E27FC236}">
                <a16:creationId xmlns:a16="http://schemas.microsoft.com/office/drawing/2014/main" id="{1E2EF3C0-D7CD-4024-85B0-14C675CAAF21}"/>
              </a:ext>
            </a:extLst>
          </p:cNvPr>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23415" y="4377901"/>
            <a:ext cx="3201399" cy="2264156"/>
          </a:xfrm>
          <a:prstGeom prst="rect">
            <a:avLst/>
          </a:prstGeom>
        </p:spPr>
      </p:pic>
    </p:spTree>
    <p:extLst>
      <p:ext uri="{BB962C8B-B14F-4D97-AF65-F5344CB8AC3E}">
        <p14:creationId xmlns:p14="http://schemas.microsoft.com/office/powerpoint/2010/main" val="36303106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9257" y="-17218"/>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sp>
        <p:nvSpPr>
          <p:cNvPr id="3" name="Freeform 3"/>
          <p:cNvSpPr/>
          <p:nvPr/>
        </p:nvSpPr>
        <p:spPr>
          <a:xfrm rot="5400000">
            <a:off x="4107635" y="3599727"/>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4" name="Freeform 4"/>
          <p:cNvSpPr/>
          <p:nvPr/>
        </p:nvSpPr>
        <p:spPr>
          <a:xfrm>
            <a:off x="5965066" y="1287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sp>
        <p:nvSpPr>
          <p:cNvPr id="5" name="Freeform 5"/>
          <p:cNvSpPr/>
          <p:nvPr/>
        </p:nvSpPr>
        <p:spPr>
          <a:xfrm>
            <a:off x="5965066" y="2943709"/>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sp>
        <p:nvSpPr>
          <p:cNvPr id="7" name="Freeform 7"/>
          <p:cNvSpPr/>
          <p:nvPr/>
        </p:nvSpPr>
        <p:spPr>
          <a:xfrm>
            <a:off x="5965066" y="4716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grpSp>
        <p:nvGrpSpPr>
          <p:cNvPr id="8" name="Group 8"/>
          <p:cNvGrpSpPr/>
          <p:nvPr/>
        </p:nvGrpSpPr>
        <p:grpSpPr>
          <a:xfrm>
            <a:off x="6021371" y="1323515"/>
            <a:ext cx="327139" cy="327139"/>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57150" cap="sq">
              <a:solidFill>
                <a:srgbClr val="FFFFFF"/>
              </a:solidFill>
              <a:prstDash val="solid"/>
              <a:miter/>
            </a:ln>
          </p:spPr>
        </p:sp>
        <p:sp>
          <p:nvSpPr>
            <p:cNvPr id="10" name="TextBox 10"/>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11" name="Group 11"/>
          <p:cNvGrpSpPr/>
          <p:nvPr/>
        </p:nvGrpSpPr>
        <p:grpSpPr>
          <a:xfrm>
            <a:off x="6021371" y="2981507"/>
            <a:ext cx="327139" cy="327139"/>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51F19"/>
            </a:solidFill>
            <a:ln w="57150" cap="sq">
              <a:solidFill>
                <a:srgbClr val="FFFFFF"/>
              </a:solidFill>
              <a:prstDash val="solid"/>
              <a:miter/>
            </a:ln>
          </p:spPr>
        </p:sp>
        <p:sp>
          <p:nvSpPr>
            <p:cNvPr id="13" name="TextBox 13"/>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17" name="Group 17"/>
          <p:cNvGrpSpPr/>
          <p:nvPr/>
        </p:nvGrpSpPr>
        <p:grpSpPr>
          <a:xfrm>
            <a:off x="6021371" y="4752515"/>
            <a:ext cx="327139" cy="327139"/>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D3733"/>
            </a:solidFill>
            <a:ln w="57150" cap="sq">
              <a:solidFill>
                <a:srgbClr val="FFFFFF"/>
              </a:solidFill>
              <a:prstDash val="solid"/>
              <a:miter/>
            </a:ln>
          </p:spPr>
        </p:sp>
        <p:sp>
          <p:nvSpPr>
            <p:cNvPr id="19" name="TextBox 19"/>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3" name="TextBox 33"/>
          <p:cNvSpPr txBox="1"/>
          <p:nvPr/>
        </p:nvSpPr>
        <p:spPr>
          <a:xfrm>
            <a:off x="6763560" y="1670200"/>
            <a:ext cx="4098815" cy="1077218"/>
          </a:xfrm>
          <a:prstGeom prst="rect">
            <a:avLst/>
          </a:prstGeom>
        </p:spPr>
        <p:txBody>
          <a:bodyPr lIns="0" tIns="0" rIns="0" bIns="0" rtlCol="0" anchor="t">
            <a:spAutoFit/>
          </a:bodyPr>
          <a:lstStyle/>
          <a:p>
            <a:pPr defTabSz="304815">
              <a:defRPr/>
            </a:pPr>
            <a:r>
              <a:rPr lang="en-US" sz="1400" dirty="0">
                <a:solidFill>
                  <a:srgbClr val="242424"/>
                </a:solidFill>
                <a:latin typeface="Public Sans"/>
                <a:cs typeface="Arial"/>
              </a:rPr>
              <a:t>The members of the Ohio Technical Skills Innovation Network, or Ohio TechNet, are nationally recognized for partnering with industry to implement collaborative, innovative solutions that meet manufacturing and tech workforce needs.  </a:t>
            </a:r>
          </a:p>
        </p:txBody>
      </p:sp>
      <p:sp>
        <p:nvSpPr>
          <p:cNvPr id="34" name="TextBox 34"/>
          <p:cNvSpPr txBox="1"/>
          <p:nvPr/>
        </p:nvSpPr>
        <p:spPr>
          <a:xfrm>
            <a:off x="6763560" y="3294667"/>
            <a:ext cx="4098815" cy="861774"/>
          </a:xfrm>
          <a:prstGeom prst="rect">
            <a:avLst/>
          </a:prstGeom>
        </p:spPr>
        <p:txBody>
          <a:bodyPr lIns="0" tIns="0" rIns="0" bIns="0" rtlCol="0" anchor="t">
            <a:spAutoFit/>
          </a:bodyPr>
          <a:lstStyle/>
          <a:p>
            <a:r>
              <a:rPr lang="en-US" sz="1400" dirty="0">
                <a:solidFill>
                  <a:srgbClr val="242424"/>
                </a:solidFill>
                <a:latin typeface="Public Sans"/>
                <a:cs typeface="Arial"/>
              </a:rPr>
              <a:t>Ohio TechNet supports workforce development and academic professionals to incubate, develop and sustain programming that accelerates the growth of Ohio’s manufacturing &amp; technical workforce. </a:t>
            </a:r>
          </a:p>
        </p:txBody>
      </p:sp>
      <p:sp>
        <p:nvSpPr>
          <p:cNvPr id="35" name="TextBox 35"/>
          <p:cNvSpPr txBox="1"/>
          <p:nvPr/>
        </p:nvSpPr>
        <p:spPr>
          <a:xfrm>
            <a:off x="890539" y="1752773"/>
            <a:ext cx="5029676" cy="253852"/>
          </a:xfrm>
          <a:prstGeom prst="rect">
            <a:avLst/>
          </a:prstGeom>
        </p:spPr>
        <p:txBody>
          <a:bodyPr wrap="square" lIns="0" tIns="0" rIns="0" bIns="0" rtlCol="0" anchor="t">
            <a:spAutoFit/>
          </a:bodyPr>
          <a:lstStyle/>
          <a:p>
            <a:pPr>
              <a:lnSpc>
                <a:spcPts val="2147"/>
              </a:lnSpc>
            </a:pPr>
            <a:r>
              <a:rPr lang="en-US" sz="1600" b="1" dirty="0">
                <a:solidFill>
                  <a:srgbClr val="1D1A1B"/>
                </a:solidFill>
                <a:latin typeface="Public Sans"/>
                <a:ea typeface="Public Sans"/>
                <a:cs typeface="Public Sans"/>
                <a:sym typeface="Public Sans"/>
              </a:rPr>
              <a:t>Partners in Training Ohio’s Manufacturing Workforce</a:t>
            </a:r>
          </a:p>
        </p:txBody>
      </p:sp>
      <p:sp>
        <p:nvSpPr>
          <p:cNvPr id="36" name="TextBox 36"/>
          <p:cNvSpPr txBox="1"/>
          <p:nvPr/>
        </p:nvSpPr>
        <p:spPr>
          <a:xfrm>
            <a:off x="6763559" y="132410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Vision</a:t>
            </a:r>
          </a:p>
        </p:txBody>
      </p:sp>
      <p:sp>
        <p:nvSpPr>
          <p:cNvPr id="37" name="TextBox 37"/>
          <p:cNvSpPr txBox="1"/>
          <p:nvPr/>
        </p:nvSpPr>
        <p:spPr>
          <a:xfrm>
            <a:off x="6763559" y="296673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Mission</a:t>
            </a:r>
          </a:p>
        </p:txBody>
      </p:sp>
      <p:sp>
        <p:nvSpPr>
          <p:cNvPr id="38" name="TextBox 38"/>
          <p:cNvSpPr txBox="1"/>
          <p:nvPr/>
        </p:nvSpPr>
        <p:spPr>
          <a:xfrm>
            <a:off x="6763560" y="4919134"/>
            <a:ext cx="4098815" cy="1077218"/>
          </a:xfrm>
          <a:prstGeom prst="rect">
            <a:avLst/>
          </a:prstGeom>
        </p:spPr>
        <p:txBody>
          <a:bodyPr lIns="0" tIns="0" rIns="0" bIns="0" rtlCol="0" anchor="t">
            <a:spAutoFit/>
          </a:bodyPr>
          <a:lstStyle/>
          <a:p>
            <a:r>
              <a:rPr lang="en-US" sz="1400" dirty="0">
                <a:latin typeface="Public Sans" panose="020B0604020202020204" charset="0"/>
                <a:cs typeface="Arial" panose="020B0604020202020204" pitchFamily="34" charset="0"/>
              </a:rPr>
              <a:t>Ohio TechNet partners benefit from peer-to-peer collaboration, technical assistance and access to resources, making program expansion and innovation at their institution more efficient, faster to implement and easier to sustain.</a:t>
            </a:r>
            <a:endParaRPr lang="en-US" sz="1000" dirty="0">
              <a:latin typeface="Public Sans" panose="020B0604020202020204" charset="0"/>
              <a:cs typeface="Arial" panose="020B0604020202020204" pitchFamily="34" charset="0"/>
              <a:sym typeface="Wingdings" panose="05000000000000000000" pitchFamily="2" charset="2"/>
            </a:endParaRPr>
          </a:p>
        </p:txBody>
      </p:sp>
      <p:sp>
        <p:nvSpPr>
          <p:cNvPr id="39" name="TextBox 39"/>
          <p:cNvSpPr txBox="1"/>
          <p:nvPr/>
        </p:nvSpPr>
        <p:spPr>
          <a:xfrm>
            <a:off x="6763559" y="464051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Purpos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pic>
        <p:nvPicPr>
          <p:cNvPr id="48" name="Picture 47">
            <a:extLst>
              <a:ext uri="{FF2B5EF4-FFF2-40B4-BE49-F238E27FC236}">
                <a16:creationId xmlns:a16="http://schemas.microsoft.com/office/drawing/2014/main" id="{6F4C4BFA-F5B1-4273-A382-C8407AD37B41}"/>
              </a:ext>
            </a:extLst>
          </p:cNvPr>
          <p:cNvPicPr>
            <a:picLocks noChangeAspect="1"/>
          </p:cNvPicPr>
          <p:nvPr/>
        </p:nvPicPr>
        <p:blipFill>
          <a:blip r:embed="rId19">
            <a:clrChange>
              <a:clrFrom>
                <a:srgbClr val="353535"/>
              </a:clrFrom>
              <a:clrTo>
                <a:srgbClr val="353535">
                  <a:alpha val="0"/>
                </a:srgbClr>
              </a:clrTo>
            </a:clrChange>
          </a:blip>
          <a:stretch>
            <a:fillRect/>
          </a:stretch>
        </p:blipFill>
        <p:spPr>
          <a:xfrm>
            <a:off x="743472" y="2389910"/>
            <a:ext cx="3553697" cy="3344231"/>
          </a:xfrm>
          <a:prstGeom prst="rect">
            <a:avLst/>
          </a:prstGeom>
        </p:spPr>
      </p:pic>
      <p:sp>
        <p:nvSpPr>
          <p:cNvPr id="50" name="TextBox 49">
            <a:extLst>
              <a:ext uri="{FF2B5EF4-FFF2-40B4-BE49-F238E27FC236}">
                <a16:creationId xmlns:a16="http://schemas.microsoft.com/office/drawing/2014/main" id="{E2B64ADE-BC38-4898-A680-01C062154ABF}"/>
              </a:ext>
            </a:extLst>
          </p:cNvPr>
          <p:cNvSpPr txBox="1"/>
          <p:nvPr/>
        </p:nvSpPr>
        <p:spPr>
          <a:xfrm>
            <a:off x="3968580" y="4230745"/>
            <a:ext cx="2150553" cy="1384995"/>
          </a:xfrm>
          <a:prstGeom prst="rect">
            <a:avLst/>
          </a:prstGeom>
          <a:noFill/>
        </p:spPr>
        <p:txBody>
          <a:bodyPr wrap="square" rtlCol="0">
            <a:spAutoFit/>
          </a:bodyPr>
          <a:lstStyle/>
          <a:p>
            <a:r>
              <a:rPr lang="en-US" sz="1200" b="1" dirty="0">
                <a:latin typeface="Public Sans" panose="020B0604020202020204" charset="0"/>
              </a:rPr>
              <a:t>OTN Members:</a:t>
            </a:r>
          </a:p>
          <a:p>
            <a:endParaRPr lang="en-US" sz="1200" dirty="0">
              <a:latin typeface="Public Sans" panose="020B0604020202020204" charset="0"/>
            </a:endParaRPr>
          </a:p>
          <a:p>
            <a:r>
              <a:rPr lang="en-US" sz="1200" dirty="0">
                <a:latin typeface="Public Sans" panose="020B0604020202020204" charset="0"/>
              </a:rPr>
              <a:t>     Community College</a:t>
            </a:r>
            <a:br>
              <a:rPr lang="en-US" sz="1200" dirty="0">
                <a:latin typeface="Public Sans" panose="020B0604020202020204" charset="0"/>
              </a:rPr>
            </a:br>
            <a:br>
              <a:rPr lang="en-US" sz="1200" dirty="0">
                <a:latin typeface="Public Sans" panose="020B0604020202020204" charset="0"/>
              </a:rPr>
            </a:br>
            <a:r>
              <a:rPr lang="en-US" sz="1200" dirty="0">
                <a:latin typeface="Public Sans" panose="020B0604020202020204" charset="0"/>
              </a:rPr>
              <a:t>     Technical Center</a:t>
            </a:r>
            <a:br>
              <a:rPr lang="en-US" sz="1200" dirty="0">
                <a:latin typeface="Public Sans" panose="020B0604020202020204" charset="0"/>
              </a:rPr>
            </a:br>
            <a:br>
              <a:rPr lang="en-US" sz="1200" dirty="0">
                <a:latin typeface="Public Sans" panose="020B0604020202020204" charset="0"/>
              </a:rPr>
            </a:br>
            <a:r>
              <a:rPr lang="en-US" sz="1200" dirty="0">
                <a:latin typeface="Public Sans" panose="020B0604020202020204" charset="0"/>
              </a:rPr>
              <a:t>     University</a:t>
            </a:r>
          </a:p>
        </p:txBody>
      </p:sp>
      <p:sp>
        <p:nvSpPr>
          <p:cNvPr id="51" name="Oval 50">
            <a:extLst>
              <a:ext uri="{FF2B5EF4-FFF2-40B4-BE49-F238E27FC236}">
                <a16:creationId xmlns:a16="http://schemas.microsoft.com/office/drawing/2014/main" id="{09996A10-775D-497B-B0D7-C59BBE74637B}"/>
              </a:ext>
            </a:extLst>
          </p:cNvPr>
          <p:cNvSpPr/>
          <p:nvPr/>
        </p:nvSpPr>
        <p:spPr>
          <a:xfrm>
            <a:off x="4019465" y="4643317"/>
            <a:ext cx="121920" cy="112792"/>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Oval 51">
            <a:extLst>
              <a:ext uri="{FF2B5EF4-FFF2-40B4-BE49-F238E27FC236}">
                <a16:creationId xmlns:a16="http://schemas.microsoft.com/office/drawing/2014/main" id="{DC2FC20D-AE07-4D49-BBCA-B0E2DFAF9A5D}"/>
              </a:ext>
            </a:extLst>
          </p:cNvPr>
          <p:cNvSpPr/>
          <p:nvPr/>
        </p:nvSpPr>
        <p:spPr>
          <a:xfrm>
            <a:off x="4014547" y="5030089"/>
            <a:ext cx="121920" cy="112792"/>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3" name="Oval 52">
            <a:extLst>
              <a:ext uri="{FF2B5EF4-FFF2-40B4-BE49-F238E27FC236}">
                <a16:creationId xmlns:a16="http://schemas.microsoft.com/office/drawing/2014/main" id="{9F82D114-AD92-4586-AD14-886FCC1EDA88}"/>
              </a:ext>
            </a:extLst>
          </p:cNvPr>
          <p:cNvSpPr/>
          <p:nvPr/>
        </p:nvSpPr>
        <p:spPr>
          <a:xfrm>
            <a:off x="4019465" y="5374447"/>
            <a:ext cx="121920" cy="112792"/>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20">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844129" y="1004853"/>
            <a:ext cx="2723636" cy="727072"/>
          </a:xfrm>
          <a:prstGeom prst="rect">
            <a:avLst/>
          </a:prstGeom>
        </p:spPr>
      </p:pic>
    </p:spTree>
    <p:extLst>
      <p:ext uri="{BB962C8B-B14F-4D97-AF65-F5344CB8AC3E}">
        <p14:creationId xmlns:p14="http://schemas.microsoft.com/office/powerpoint/2010/main" val="488215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4181" y="-23560"/>
            <a:ext cx="12189266" cy="688156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dirty="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557229" y="6337869"/>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557229" y="5953881"/>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5" name="TextBox 35"/>
          <p:cNvSpPr txBox="1"/>
          <p:nvPr/>
        </p:nvSpPr>
        <p:spPr>
          <a:xfrm>
            <a:off x="484182" y="790169"/>
            <a:ext cx="5029676" cy="246734"/>
          </a:xfrm>
          <a:prstGeom prst="rect">
            <a:avLst/>
          </a:prstGeom>
        </p:spPr>
        <p:txBody>
          <a:bodyPr wrap="square" lIns="0" tIns="0" rIns="0" bIns="0" rtlCol="0" anchor="t">
            <a:spAutoFit/>
          </a:bodyPr>
          <a:lstStyle/>
          <a:p>
            <a:pPr>
              <a:lnSpc>
                <a:spcPts val="2147"/>
              </a:lnSpc>
            </a:pPr>
            <a:r>
              <a:rPr lang="en-US" sz="1533" dirty="0">
                <a:solidFill>
                  <a:srgbClr val="1D1A1B"/>
                </a:solidFill>
                <a:latin typeface="Public Sans"/>
                <a:ea typeface="Public Sans"/>
                <a:cs typeface="Public Sans"/>
                <a:sym typeface="Public Sans"/>
              </a:rPr>
              <a:t>Partners in Training Ohio’s Manufacturing Workforc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3">
              <a:extLst>
                <a:ext uri="{96DAC541-7B7A-43D3-8B79-37D633B846F1}">
                  <asvg:svgBlip xmlns:asvg="http://schemas.microsoft.com/office/drawing/2016/SVG/main" r:embed="rId4"/>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1">
              <a:extLst>
                <a:ext uri="{96DAC541-7B7A-43D3-8B79-37D633B846F1}">
                  <asvg:svgBlip xmlns:asvg="http://schemas.microsoft.com/office/drawing/2016/SVG/main" r:embed="rId12"/>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3">
              <a:extLst>
                <a:ext uri="{96DAC541-7B7A-43D3-8B79-37D633B846F1}">
                  <asvg:svgBlip xmlns:asvg="http://schemas.microsoft.com/office/drawing/2016/SVG/main" r:embed="rId14"/>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5">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9289" y="112960"/>
            <a:ext cx="2723636" cy="727072"/>
          </a:xfrm>
          <a:prstGeom prst="rect">
            <a:avLst/>
          </a:prstGeom>
        </p:spPr>
      </p:pic>
      <p:pic>
        <p:nvPicPr>
          <p:cNvPr id="4" name="Picture 3">
            <a:extLst>
              <a:ext uri="{FF2B5EF4-FFF2-40B4-BE49-F238E27FC236}">
                <a16:creationId xmlns:a16="http://schemas.microsoft.com/office/drawing/2014/main" id="{D202988A-D844-4BA7-8B60-A0BD4B372CA3}"/>
              </a:ext>
            </a:extLst>
          </p:cNvPr>
          <p:cNvPicPr>
            <a:picLocks noChangeAspect="1"/>
          </p:cNvPicPr>
          <p:nvPr/>
        </p:nvPicPr>
        <p:blipFill rotWithShape="1">
          <a:blip r:embed="rId16">
            <a:clrChange>
              <a:clrFrom>
                <a:srgbClr val="FFFFFF"/>
              </a:clrFrom>
              <a:clrTo>
                <a:srgbClr val="FFFFFF">
                  <a:alpha val="0"/>
                </a:srgbClr>
              </a:clrTo>
            </a:clrChange>
          </a:blip>
          <a:srcRect t="7299"/>
          <a:stretch/>
        </p:blipFill>
        <p:spPr>
          <a:xfrm>
            <a:off x="1118943" y="1195164"/>
            <a:ext cx="10075086" cy="5280621"/>
          </a:xfrm>
          <a:prstGeom prst="rect">
            <a:avLst/>
          </a:prstGeom>
        </p:spPr>
      </p:pic>
    </p:spTree>
    <p:extLst>
      <p:ext uri="{BB962C8B-B14F-4D97-AF65-F5344CB8AC3E}">
        <p14:creationId xmlns:p14="http://schemas.microsoft.com/office/powerpoint/2010/main" val="39735640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4181" y="-23560"/>
            <a:ext cx="12189266" cy="688156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dirty="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5" name="TextBox 35"/>
          <p:cNvSpPr txBox="1"/>
          <p:nvPr/>
        </p:nvSpPr>
        <p:spPr>
          <a:xfrm>
            <a:off x="484182" y="790169"/>
            <a:ext cx="5029676" cy="246734"/>
          </a:xfrm>
          <a:prstGeom prst="rect">
            <a:avLst/>
          </a:prstGeom>
        </p:spPr>
        <p:txBody>
          <a:bodyPr wrap="square" lIns="0" tIns="0" rIns="0" bIns="0" rtlCol="0" anchor="t">
            <a:spAutoFit/>
          </a:bodyPr>
          <a:lstStyle/>
          <a:p>
            <a:pPr>
              <a:lnSpc>
                <a:spcPts val="2147"/>
              </a:lnSpc>
            </a:pPr>
            <a:r>
              <a:rPr lang="en-US" sz="1533" dirty="0">
                <a:solidFill>
                  <a:srgbClr val="1D1A1B"/>
                </a:solidFill>
                <a:latin typeface="Public Sans"/>
                <a:ea typeface="Public Sans"/>
                <a:cs typeface="Public Sans"/>
                <a:sym typeface="Public Sans"/>
              </a:rPr>
              <a:t>Partners in Training Ohio’s Manufacturing Workforc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3">
              <a:extLst>
                <a:ext uri="{96DAC541-7B7A-43D3-8B79-37D633B846F1}">
                  <asvg:svgBlip xmlns:asvg="http://schemas.microsoft.com/office/drawing/2016/SVG/main" r:embed="rId4"/>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1">
              <a:extLst>
                <a:ext uri="{96DAC541-7B7A-43D3-8B79-37D633B846F1}">
                  <asvg:svgBlip xmlns:asvg="http://schemas.microsoft.com/office/drawing/2016/SVG/main" r:embed="rId12"/>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3">
              <a:extLst>
                <a:ext uri="{96DAC541-7B7A-43D3-8B79-37D633B846F1}">
                  <asvg:svgBlip xmlns:asvg="http://schemas.microsoft.com/office/drawing/2016/SVG/main" r:embed="rId14"/>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5">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9289" y="112960"/>
            <a:ext cx="2723636" cy="727072"/>
          </a:xfrm>
          <a:prstGeom prst="rect">
            <a:avLst/>
          </a:prstGeom>
        </p:spPr>
      </p:pic>
      <p:sp>
        <p:nvSpPr>
          <p:cNvPr id="8" name="TextBox 7">
            <a:extLst>
              <a:ext uri="{FF2B5EF4-FFF2-40B4-BE49-F238E27FC236}">
                <a16:creationId xmlns:a16="http://schemas.microsoft.com/office/drawing/2014/main" id="{7D5855B0-C4B5-487B-8555-94B567121885}"/>
              </a:ext>
            </a:extLst>
          </p:cNvPr>
          <p:cNvSpPr txBox="1"/>
          <p:nvPr/>
        </p:nvSpPr>
        <p:spPr>
          <a:xfrm>
            <a:off x="6864566" y="1881894"/>
            <a:ext cx="4893539" cy="1200329"/>
          </a:xfrm>
          <a:prstGeom prst="rect">
            <a:avLst/>
          </a:prstGeom>
          <a:noFill/>
        </p:spPr>
        <p:txBody>
          <a:bodyPr wrap="square" rtlCol="0">
            <a:spAutoFit/>
          </a:bodyPr>
          <a:lstStyle/>
          <a:p>
            <a:pPr algn="ctr"/>
            <a:r>
              <a:rPr lang="en-US" sz="4000" b="1" dirty="0">
                <a:latin typeface="Aptos" panose="020B0004020202020204" pitchFamily="34" charset="0"/>
              </a:rPr>
              <a:t>May OTN Meeting</a:t>
            </a:r>
            <a:br>
              <a:rPr lang="en-US" sz="4000" b="1" dirty="0">
                <a:latin typeface="Aptos" panose="020B0004020202020204" pitchFamily="34" charset="0"/>
              </a:rPr>
            </a:br>
            <a:r>
              <a:rPr lang="en-US" sz="3200" b="1" dirty="0">
                <a:latin typeface="Aptos" panose="020B0004020202020204" pitchFamily="34" charset="0"/>
              </a:rPr>
              <a:t>May 20, 2025 at 8:30am</a:t>
            </a:r>
            <a:endParaRPr lang="en-US" sz="4000" dirty="0">
              <a:latin typeface="Aptos" panose="020B0004020202020204" pitchFamily="34" charset="0"/>
            </a:endParaRPr>
          </a:p>
        </p:txBody>
      </p:sp>
      <p:pic>
        <p:nvPicPr>
          <p:cNvPr id="2050" name="Picture 2" descr="Columbus State Community Based Partnerships">
            <a:extLst>
              <a:ext uri="{FF2B5EF4-FFF2-40B4-BE49-F238E27FC236}">
                <a16:creationId xmlns:a16="http://schemas.microsoft.com/office/drawing/2014/main" id="{B6BC7F32-7E06-418F-B02A-BA95E8C2BA6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5883" y="1674391"/>
            <a:ext cx="5846983" cy="373370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E4C689E3-9A9A-4E68-813E-7E223B3E8E16}"/>
              </a:ext>
            </a:extLst>
          </p:cNvPr>
          <p:cNvPicPr>
            <a:picLocks noChangeAspect="1"/>
          </p:cNvPicPr>
          <p:nvPr/>
        </p:nvPicPr>
        <p:blipFill rotWithShape="1">
          <a:blip r:embed="rId17">
            <a:clrChange>
              <a:clrFrom>
                <a:srgbClr val="FFFFFF"/>
              </a:clrFrom>
              <a:clrTo>
                <a:srgbClr val="FFFFFF">
                  <a:alpha val="0"/>
                </a:srgbClr>
              </a:clrTo>
            </a:clrChange>
          </a:blip>
          <a:srcRect r="70860"/>
          <a:stretch/>
        </p:blipFill>
        <p:spPr>
          <a:xfrm>
            <a:off x="7831168" y="3126153"/>
            <a:ext cx="3175926" cy="1705284"/>
          </a:xfrm>
          <a:prstGeom prst="rect">
            <a:avLst/>
          </a:prstGeom>
          <a:ln>
            <a:noFill/>
          </a:ln>
        </p:spPr>
      </p:pic>
    </p:spTree>
    <p:extLst>
      <p:ext uri="{BB962C8B-B14F-4D97-AF65-F5344CB8AC3E}">
        <p14:creationId xmlns:p14="http://schemas.microsoft.com/office/powerpoint/2010/main" val="1852842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2">
            <a:extLst>
              <a:ext uri="{FF2B5EF4-FFF2-40B4-BE49-F238E27FC236}">
                <a16:creationId xmlns:a16="http://schemas.microsoft.com/office/drawing/2014/main" id="{B06C1182-A4E9-4EC7-9DF8-6D776C6D9BC3}"/>
              </a:ext>
            </a:extLst>
          </p:cNvPr>
          <p:cNvSpPr/>
          <p:nvPr/>
        </p:nvSpPr>
        <p:spPr>
          <a:xfrm flipH="1" flipV="1">
            <a:off x="0" y="0"/>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sp>
        <p:nvSpPr>
          <p:cNvPr id="3" name="Freeform 3"/>
          <p:cNvSpPr/>
          <p:nvPr/>
        </p:nvSpPr>
        <p:spPr>
          <a:xfrm rot="5400000">
            <a:off x="4107635" y="3599727"/>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4" name="Freeform 4"/>
          <p:cNvSpPr/>
          <p:nvPr/>
        </p:nvSpPr>
        <p:spPr>
          <a:xfrm>
            <a:off x="5965066" y="1287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grpSp>
        <p:nvGrpSpPr>
          <p:cNvPr id="8" name="Group 8"/>
          <p:cNvGrpSpPr/>
          <p:nvPr/>
        </p:nvGrpSpPr>
        <p:grpSpPr>
          <a:xfrm>
            <a:off x="6021371" y="1323515"/>
            <a:ext cx="327139" cy="327139"/>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57150" cap="sq">
              <a:solidFill>
                <a:srgbClr val="FFFFFF"/>
              </a:solidFill>
              <a:prstDash val="solid"/>
              <a:miter/>
            </a:ln>
          </p:spPr>
        </p:sp>
        <p:sp>
          <p:nvSpPr>
            <p:cNvPr id="10" name="TextBox 10"/>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2" name="TextBox 32"/>
          <p:cNvSpPr txBox="1"/>
          <p:nvPr/>
        </p:nvSpPr>
        <p:spPr>
          <a:xfrm>
            <a:off x="818480" y="1161718"/>
            <a:ext cx="4557413" cy="3539623"/>
          </a:xfrm>
          <a:prstGeom prst="rect">
            <a:avLst/>
          </a:prstGeom>
        </p:spPr>
        <p:txBody>
          <a:bodyPr wrap="square" lIns="0" tIns="0" rIns="0" bIns="0" rtlCol="0" anchor="ctr">
            <a:spAutoFit/>
          </a:bodyPr>
          <a:lstStyle/>
          <a:p>
            <a:pPr algn="l"/>
            <a:r>
              <a:rPr lang="en-US" sz="7667" b="1">
                <a:solidFill>
                  <a:srgbClr val="1D1A1B"/>
                </a:solidFill>
                <a:latin typeface="Public Sans Bold"/>
                <a:ea typeface="Public Sans Bold"/>
                <a:cs typeface="Public Sans Bold"/>
                <a:sym typeface="Public Sans Bold"/>
              </a:rPr>
              <a:t>Strategic Focus </a:t>
            </a:r>
            <a:br>
              <a:rPr lang="en-US" sz="7667" b="1">
                <a:solidFill>
                  <a:srgbClr val="1D1A1B"/>
                </a:solidFill>
                <a:latin typeface="Public Sans Bold"/>
                <a:ea typeface="Public Sans Bold"/>
                <a:cs typeface="Public Sans Bold"/>
                <a:sym typeface="Public Sans Bold"/>
              </a:rPr>
            </a:br>
            <a:r>
              <a:rPr lang="en-US" sz="7667" b="1">
                <a:solidFill>
                  <a:srgbClr val="1D1A1B"/>
                </a:solidFill>
                <a:latin typeface="Public Sans Bold"/>
                <a:ea typeface="Public Sans Bold"/>
                <a:cs typeface="Public Sans Bold"/>
                <a:sym typeface="Public Sans Bold"/>
              </a:rPr>
              <a:t>Areas</a:t>
            </a:r>
          </a:p>
        </p:txBody>
      </p:sp>
      <p:sp>
        <p:nvSpPr>
          <p:cNvPr id="36" name="TextBox 36"/>
          <p:cNvSpPr txBox="1"/>
          <p:nvPr/>
        </p:nvSpPr>
        <p:spPr>
          <a:xfrm>
            <a:off x="6763559" y="132410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Guided Pathways for Youth</a:t>
            </a:r>
          </a:p>
        </p:txBody>
      </p:sp>
      <p:sp>
        <p:nvSpPr>
          <p:cNvPr id="37" name="TextBox 37"/>
          <p:cNvSpPr txBox="1"/>
          <p:nvPr/>
        </p:nvSpPr>
        <p:spPr>
          <a:xfrm>
            <a:off x="6763559" y="2171694"/>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Reaching New Audiences</a:t>
            </a:r>
          </a:p>
        </p:txBody>
      </p:sp>
      <p:sp>
        <p:nvSpPr>
          <p:cNvPr id="39" name="TextBox 39"/>
          <p:cNvSpPr txBox="1"/>
          <p:nvPr/>
        </p:nvSpPr>
        <p:spPr>
          <a:xfrm>
            <a:off x="6763559" y="3078026"/>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Innovative Earn and Learn </a:t>
            </a:r>
          </a:p>
        </p:txBody>
      </p:sp>
      <p:sp>
        <p:nvSpPr>
          <p:cNvPr id="41" name="TextBox 41"/>
          <p:cNvSpPr txBox="1"/>
          <p:nvPr/>
        </p:nvSpPr>
        <p:spPr>
          <a:xfrm>
            <a:off x="6763560" y="3936766"/>
            <a:ext cx="3578809" cy="269817"/>
          </a:xfrm>
          <a:prstGeom prst="rect">
            <a:avLst/>
          </a:prstGeom>
        </p:spPr>
        <p:txBody>
          <a:bodyPr wrap="square"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Faculty and Educator Development </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sp>
        <p:nvSpPr>
          <p:cNvPr id="48" name="TextBox 41">
            <a:extLst>
              <a:ext uri="{FF2B5EF4-FFF2-40B4-BE49-F238E27FC236}">
                <a16:creationId xmlns:a16="http://schemas.microsoft.com/office/drawing/2014/main" id="{1C771949-BD59-44F6-B06E-2B15D3A8B2E6}"/>
              </a:ext>
            </a:extLst>
          </p:cNvPr>
          <p:cNvSpPr txBox="1"/>
          <p:nvPr/>
        </p:nvSpPr>
        <p:spPr>
          <a:xfrm>
            <a:off x="6763560" y="4761540"/>
            <a:ext cx="3578809" cy="269817"/>
          </a:xfrm>
          <a:prstGeom prst="rect">
            <a:avLst/>
          </a:prstGeom>
        </p:spPr>
        <p:txBody>
          <a:bodyPr wrap="square"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Partnering with Industry </a:t>
            </a:r>
          </a:p>
        </p:txBody>
      </p:sp>
      <p:sp>
        <p:nvSpPr>
          <p:cNvPr id="53" name="Freeform 9">
            <a:extLst>
              <a:ext uri="{FF2B5EF4-FFF2-40B4-BE49-F238E27FC236}">
                <a16:creationId xmlns:a16="http://schemas.microsoft.com/office/drawing/2014/main" id="{4C0A4A29-7156-41E8-B87A-EC9D31518EF0}"/>
              </a:ext>
            </a:extLst>
          </p:cNvPr>
          <p:cNvSpPr/>
          <p:nvPr/>
        </p:nvSpPr>
        <p:spPr>
          <a:xfrm>
            <a:off x="6031531" y="2150788"/>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4" name="Freeform 9">
            <a:extLst>
              <a:ext uri="{FF2B5EF4-FFF2-40B4-BE49-F238E27FC236}">
                <a16:creationId xmlns:a16="http://schemas.microsoft.com/office/drawing/2014/main" id="{F083C1E7-24BB-4D13-B528-E20FA097614C}"/>
              </a:ext>
            </a:extLst>
          </p:cNvPr>
          <p:cNvSpPr/>
          <p:nvPr/>
        </p:nvSpPr>
        <p:spPr>
          <a:xfrm>
            <a:off x="6026451" y="3067279"/>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5" name="Freeform 9">
            <a:extLst>
              <a:ext uri="{FF2B5EF4-FFF2-40B4-BE49-F238E27FC236}">
                <a16:creationId xmlns:a16="http://schemas.microsoft.com/office/drawing/2014/main" id="{810640FC-759E-444F-A4D0-FB54E8016E00}"/>
              </a:ext>
            </a:extLst>
          </p:cNvPr>
          <p:cNvSpPr/>
          <p:nvPr/>
        </p:nvSpPr>
        <p:spPr>
          <a:xfrm>
            <a:off x="6036611" y="3909965"/>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6" name="Freeform 9">
            <a:extLst>
              <a:ext uri="{FF2B5EF4-FFF2-40B4-BE49-F238E27FC236}">
                <a16:creationId xmlns:a16="http://schemas.microsoft.com/office/drawing/2014/main" id="{837002BE-818D-40FD-A450-8FF2AA64F880}"/>
              </a:ext>
            </a:extLst>
          </p:cNvPr>
          <p:cNvSpPr/>
          <p:nvPr/>
        </p:nvSpPr>
        <p:spPr>
          <a:xfrm>
            <a:off x="6031531" y="4790909"/>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2" name="TextBox 1">
            <a:extLst>
              <a:ext uri="{FF2B5EF4-FFF2-40B4-BE49-F238E27FC236}">
                <a16:creationId xmlns:a16="http://schemas.microsoft.com/office/drawing/2014/main" id="{448EFE20-8FF1-4FA2-B1B6-5BB7583F9B1C}"/>
              </a:ext>
            </a:extLst>
          </p:cNvPr>
          <p:cNvSpPr txBox="1"/>
          <p:nvPr/>
        </p:nvSpPr>
        <p:spPr>
          <a:xfrm>
            <a:off x="748629" y="4751849"/>
            <a:ext cx="4109260" cy="912814"/>
          </a:xfrm>
          <a:prstGeom prst="rect">
            <a:avLst/>
          </a:prstGeom>
          <a:noFill/>
        </p:spPr>
        <p:txBody>
          <a:bodyPr wrap="square" rtlCol="0">
            <a:spAutoFit/>
          </a:bodyPr>
          <a:lstStyle/>
          <a:p>
            <a:r>
              <a:rPr lang="en-US" sz="1333" dirty="0">
                <a:latin typeface="Public Sans" panose="020B0604020202020204" charset="0"/>
              </a:rPr>
              <a:t>Ohio TechNet’s strategic focus areas provide partners with best practices, models, and technical assistance to address the critical workforce needs in the state</a:t>
            </a:r>
          </a:p>
        </p:txBody>
      </p:sp>
      <p:pic>
        <p:nvPicPr>
          <p:cNvPr id="38" name="Picture 37">
            <a:extLst>
              <a:ext uri="{FF2B5EF4-FFF2-40B4-BE49-F238E27FC236}">
                <a16:creationId xmlns:a16="http://schemas.microsoft.com/office/drawing/2014/main" id="{AFD72FDE-5C51-44FF-9C7F-5ADB3B6CE5EC}"/>
              </a:ext>
            </a:extLst>
          </p:cNvPr>
          <p:cNvPicPr>
            <a:picLocks noChangeAspect="1"/>
          </p:cNvPicPr>
          <p:nvPr/>
        </p:nvPicPr>
        <p:blipFill>
          <a:blip r:embed="rId19">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8956517" y="5943472"/>
            <a:ext cx="2405750" cy="642213"/>
          </a:xfrm>
          <a:prstGeom prst="rect">
            <a:avLst/>
          </a:prstGeom>
        </p:spPr>
      </p:pic>
    </p:spTree>
  </p:cSld>
  <p:clrMapOvr>
    <a:masterClrMapping/>
  </p:clrMapOvr>
  <p:transition spd="slow">
    <p:randomBar dir="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sp>
        <p:nvSpPr>
          <p:cNvPr id="3" name="Freeform 3"/>
          <p:cNvSpPr/>
          <p:nvPr/>
        </p:nvSpPr>
        <p:spPr>
          <a:xfrm rot="5400000">
            <a:off x="2997593" y="3431273"/>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8" name="TextBox 38"/>
          <p:cNvSpPr txBox="1"/>
          <p:nvPr/>
        </p:nvSpPr>
        <p:spPr>
          <a:xfrm>
            <a:off x="358270" y="2483570"/>
            <a:ext cx="4816377" cy="2400657"/>
          </a:xfrm>
          <a:prstGeom prst="rect">
            <a:avLst/>
          </a:prstGeom>
        </p:spPr>
        <p:txBody>
          <a:bodyPr wrap="square" lIns="0" tIns="0" rIns="0" bIns="0" rtlCol="0" anchor="t">
            <a:spAutoFit/>
          </a:bodyPr>
          <a:lstStyle/>
          <a:p>
            <a:r>
              <a:rPr lang="en-US" sz="6000" b="1" dirty="0">
                <a:latin typeface="Aptos"/>
                <a:cs typeface="Arial"/>
              </a:rPr>
              <a:t>MORNING </a:t>
            </a:r>
            <a:br>
              <a:rPr lang="en-US" sz="6000" b="1" dirty="0">
                <a:latin typeface="Aptos"/>
                <a:cs typeface="Arial"/>
              </a:rPr>
            </a:br>
            <a:r>
              <a:rPr lang="en-US" sz="6000" b="1" dirty="0">
                <a:latin typeface="Aptos"/>
                <a:cs typeface="Arial"/>
              </a:rPr>
              <a:t>ICEBREAKER</a:t>
            </a:r>
          </a:p>
          <a:p>
            <a:pPr marL="171450" indent="-171450">
              <a:buFont typeface="Arial" panose="020B0604020202020204" pitchFamily="34" charset="0"/>
              <a:buChar char="•"/>
            </a:pPr>
            <a:endParaRPr lang="en-US" sz="3200" dirty="0">
              <a:latin typeface="Aptos" panose="020B0004020202020204" pitchFamily="34" charset="0"/>
              <a:cs typeface="Arial" panose="020B0604020202020204" pitchFamily="34" charset="0"/>
            </a:endParaRP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6">
              <a:extLst>
                <a:ext uri="{96DAC541-7B7A-43D3-8B79-37D633B846F1}">
                  <asvg:svgBlip xmlns:asvg="http://schemas.microsoft.com/office/drawing/2016/SVG/main" r:embed="rId7"/>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4">
              <a:extLst>
                <a:ext uri="{96DAC541-7B7A-43D3-8B79-37D633B846F1}">
                  <asvg:svgBlip xmlns:asvg="http://schemas.microsoft.com/office/drawing/2016/SVG/main" r:embed="rId15"/>
                </a:ext>
              </a:extLst>
            </a:blip>
            <a:stretch>
              <a:fillRect t="-561128"/>
            </a:stretch>
          </a:blipFill>
        </p:spPr>
      </p:sp>
      <p:sp>
        <p:nvSpPr>
          <p:cNvPr id="47" name="Freeform 47"/>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6">
              <a:extLst>
                <a:ext uri="{96DAC541-7B7A-43D3-8B79-37D633B846F1}">
                  <asvg:svgBlip xmlns:asvg="http://schemas.microsoft.com/office/drawing/2016/SVG/main" r:embed="rId17"/>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8">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58270" y="926003"/>
            <a:ext cx="2723636" cy="727072"/>
          </a:xfrm>
          <a:prstGeom prst="rect">
            <a:avLst/>
          </a:prstGeom>
        </p:spPr>
      </p:pic>
      <p:pic>
        <p:nvPicPr>
          <p:cNvPr id="4" name="Picture 3" descr="Tell Me Something Good – Classroom Management Toolbox">
            <a:extLst>
              <a:ext uri="{FF2B5EF4-FFF2-40B4-BE49-F238E27FC236}">
                <a16:creationId xmlns:a16="http://schemas.microsoft.com/office/drawing/2014/main" id="{FC39D16C-0838-5033-2EE5-555E2B490619}"/>
              </a:ext>
            </a:extLst>
          </p:cNvPr>
          <p:cNvPicPr>
            <a:picLocks noChangeAspect="1"/>
          </p:cNvPicPr>
          <p:nvPr/>
        </p:nvPicPr>
        <p:blipFill>
          <a:blip r:embed="rId19"/>
          <a:stretch>
            <a:fillRect/>
          </a:stretch>
        </p:blipFill>
        <p:spPr>
          <a:xfrm>
            <a:off x="6542809" y="2065245"/>
            <a:ext cx="2743199" cy="2727509"/>
          </a:xfrm>
          <a:prstGeom prst="rect">
            <a:avLst/>
          </a:prstGeom>
        </p:spPr>
      </p:pic>
      <p:pic>
        <p:nvPicPr>
          <p:cNvPr id="1026" name="Picture 2" descr="Tell Me Something Good – Classroom Management Toolbox">
            <a:extLst>
              <a:ext uri="{FF2B5EF4-FFF2-40B4-BE49-F238E27FC236}">
                <a16:creationId xmlns:a16="http://schemas.microsoft.com/office/drawing/2014/main" id="{E02EDD9C-39F5-4AC6-A25C-7924B3C34943}"/>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281" y="722718"/>
            <a:ext cx="5393074" cy="5362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029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sp>
        <p:nvSpPr>
          <p:cNvPr id="3" name="Freeform 3"/>
          <p:cNvSpPr/>
          <p:nvPr/>
        </p:nvSpPr>
        <p:spPr>
          <a:xfrm rot="5400000">
            <a:off x="2997593" y="3431273"/>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8" name="TextBox 38"/>
          <p:cNvSpPr txBox="1"/>
          <p:nvPr/>
        </p:nvSpPr>
        <p:spPr>
          <a:xfrm>
            <a:off x="129611" y="2488878"/>
            <a:ext cx="4816377" cy="2400657"/>
          </a:xfrm>
          <a:prstGeom prst="rect">
            <a:avLst/>
          </a:prstGeom>
        </p:spPr>
        <p:txBody>
          <a:bodyPr wrap="square" lIns="0" tIns="0" rIns="0" bIns="0" rtlCol="0" anchor="t">
            <a:spAutoFit/>
          </a:bodyPr>
          <a:lstStyle/>
          <a:p>
            <a:pPr algn="ctr"/>
            <a:r>
              <a:rPr lang="en-US" sz="4400" b="1" dirty="0">
                <a:latin typeface="Aptos"/>
                <a:cs typeface="Arial"/>
              </a:rPr>
              <a:t>FOLLOW </a:t>
            </a:r>
            <a:br>
              <a:rPr lang="en-US" sz="4400" b="1" dirty="0">
                <a:latin typeface="Aptos"/>
                <a:cs typeface="Arial"/>
              </a:rPr>
            </a:br>
            <a:r>
              <a:rPr lang="en-US" sz="4400" b="1" dirty="0">
                <a:latin typeface="Aptos"/>
                <a:cs typeface="Arial"/>
                <a:hlinkClick r:id="rId6"/>
              </a:rPr>
              <a:t>OHIO TECHNET</a:t>
            </a:r>
            <a:br>
              <a:rPr lang="en-US" sz="4400" b="1" dirty="0">
                <a:latin typeface="Aptos"/>
                <a:cs typeface="Arial"/>
              </a:rPr>
            </a:br>
            <a:r>
              <a:rPr lang="en-US" sz="4400" b="1" dirty="0">
                <a:latin typeface="Aptos"/>
                <a:cs typeface="Arial"/>
              </a:rPr>
              <a:t> ON LINKEDIN!</a:t>
            </a:r>
          </a:p>
          <a:p>
            <a:pPr marL="171450" indent="-171450">
              <a:buFont typeface="Arial" panose="020B0604020202020204" pitchFamily="34" charset="0"/>
              <a:buChar char="•"/>
            </a:pPr>
            <a:endParaRPr lang="en-US" sz="2000" dirty="0">
              <a:latin typeface="Aptos" panose="020B0004020202020204" pitchFamily="34" charset="0"/>
              <a:cs typeface="Arial" panose="020B0604020202020204" pitchFamily="34" charset="0"/>
            </a:endParaRP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7" name="Freeform 47"/>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9">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58270" y="926003"/>
            <a:ext cx="2723636" cy="727072"/>
          </a:xfrm>
          <a:prstGeom prst="rect">
            <a:avLst/>
          </a:prstGeom>
        </p:spPr>
      </p:pic>
      <p:pic>
        <p:nvPicPr>
          <p:cNvPr id="3074" name="Picture 2" descr="LinkedIn">
            <a:extLst>
              <a:ext uri="{FF2B5EF4-FFF2-40B4-BE49-F238E27FC236}">
                <a16:creationId xmlns:a16="http://schemas.microsoft.com/office/drawing/2014/main" id="{FD5CC2AE-A9E5-4E55-BDE7-9E3901CEED6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276834" y="2255252"/>
            <a:ext cx="2494212" cy="23474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7631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2">
            <a:extLst>
              <a:ext uri="{FF2B5EF4-FFF2-40B4-BE49-F238E27FC236}">
                <a16:creationId xmlns:a16="http://schemas.microsoft.com/office/drawing/2014/main" id="{CE47EE34-91DB-4402-885C-10BD27BD9A01}"/>
              </a:ext>
            </a:extLst>
          </p:cNvPr>
          <p:cNvSpPr/>
          <p:nvPr/>
        </p:nvSpPr>
        <p:spPr>
          <a:xfrm flipH="1" flipV="1">
            <a:off x="9257" y="-17218"/>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dirty="0"/>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6" name="Freeform 46"/>
          <p:cNvSpPr/>
          <p:nvPr/>
        </p:nvSpPr>
        <p:spPr>
          <a:xfrm>
            <a:off x="6763559" y="6372908"/>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6">
              <a:extLst>
                <a:ext uri="{96DAC541-7B7A-43D3-8B79-37D633B846F1}">
                  <asvg:svgBlip xmlns:asvg="http://schemas.microsoft.com/office/drawing/2016/SVG/main" r:embed="rId7"/>
                </a:ext>
              </a:extLst>
            </a:blip>
            <a:stretch>
              <a:fillRect t="-561128"/>
            </a:stretch>
          </a:blipFill>
        </p:spPr>
      </p:sp>
      <p:sp>
        <p:nvSpPr>
          <p:cNvPr id="47" name="Freeform 47"/>
          <p:cNvSpPr/>
          <p:nvPr/>
        </p:nvSpPr>
        <p:spPr>
          <a:xfrm flipH="1">
            <a:off x="11461142" y="5439838"/>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15" name="TextBox 14">
            <a:extLst>
              <a:ext uri="{FF2B5EF4-FFF2-40B4-BE49-F238E27FC236}">
                <a16:creationId xmlns:a16="http://schemas.microsoft.com/office/drawing/2014/main" id="{1F96C785-DB67-42A3-977C-7C7AF4E75DB3}"/>
              </a:ext>
            </a:extLst>
          </p:cNvPr>
          <p:cNvSpPr txBox="1"/>
          <p:nvPr/>
        </p:nvSpPr>
        <p:spPr>
          <a:xfrm>
            <a:off x="1" y="133482"/>
            <a:ext cx="12135808" cy="769441"/>
          </a:xfrm>
          <a:prstGeom prst="rect">
            <a:avLst/>
          </a:prstGeom>
          <a:noFill/>
        </p:spPr>
        <p:txBody>
          <a:bodyPr wrap="square" rtlCol="0">
            <a:spAutoFit/>
          </a:bodyPr>
          <a:lstStyle/>
          <a:p>
            <a:pPr algn="ctr"/>
            <a:r>
              <a:rPr lang="en-US" sz="2400" b="1" dirty="0">
                <a:latin typeface="Aptos" panose="020B0004020202020204" pitchFamily="34" charset="0"/>
              </a:rPr>
              <a:t>Innovating, Investing, and Leading Development of the Defense Industrial Base Event</a:t>
            </a:r>
            <a:br>
              <a:rPr lang="en-US" sz="2000" b="1" dirty="0">
                <a:latin typeface="Aptos" panose="020B0004020202020204" pitchFamily="34" charset="0"/>
              </a:rPr>
            </a:br>
            <a:r>
              <a:rPr lang="en-US" sz="2000" dirty="0">
                <a:solidFill>
                  <a:srgbClr val="000000"/>
                </a:solidFill>
                <a:effectLst/>
                <a:latin typeface="Aptos" panose="020B0004020202020204" pitchFamily="34" charset="0"/>
                <a:ea typeface="Calibri" panose="020F0502020204030204" pitchFamily="34" charset="0"/>
              </a:rPr>
              <a:t>Wednesda</a:t>
            </a:r>
            <a:r>
              <a:rPr lang="en-US" sz="2000" dirty="0">
                <a:solidFill>
                  <a:srgbClr val="000000"/>
                </a:solidFill>
                <a:latin typeface="Aptos" panose="020B0004020202020204" pitchFamily="34" charset="0"/>
                <a:ea typeface="Calibri" panose="020F0502020204030204" pitchFamily="34" charset="0"/>
              </a:rPr>
              <a:t>y, April 30</a:t>
            </a:r>
            <a:r>
              <a:rPr lang="en-US" sz="2000" baseline="30000" dirty="0">
                <a:solidFill>
                  <a:srgbClr val="000000"/>
                </a:solidFill>
                <a:latin typeface="Aptos" panose="020B0004020202020204" pitchFamily="34" charset="0"/>
                <a:ea typeface="Calibri" panose="020F0502020204030204" pitchFamily="34" charset="0"/>
              </a:rPr>
              <a:t>th</a:t>
            </a:r>
            <a:r>
              <a:rPr lang="en-US" sz="2000" dirty="0">
                <a:solidFill>
                  <a:srgbClr val="000000"/>
                </a:solidFill>
                <a:latin typeface="Aptos" panose="020B0004020202020204" pitchFamily="34" charset="0"/>
                <a:ea typeface="Calibri" panose="020F0502020204030204" pitchFamily="34" charset="0"/>
              </a:rPr>
              <a:t>, 2025 | 9:30am – 2:00pm </a:t>
            </a:r>
            <a:endParaRPr lang="en-US" dirty="0">
              <a:solidFill>
                <a:srgbClr val="000000"/>
              </a:solidFill>
              <a:latin typeface="Aptos" panose="020B0004020202020204" pitchFamily="34" charset="0"/>
              <a:ea typeface="Calibri" panose="020F0502020204030204" pitchFamily="34" charset="0"/>
            </a:endParaRPr>
          </a:p>
        </p:txBody>
      </p:sp>
      <p:grpSp>
        <p:nvGrpSpPr>
          <p:cNvPr id="48" name="Group 23">
            <a:extLst>
              <a:ext uri="{FF2B5EF4-FFF2-40B4-BE49-F238E27FC236}">
                <a16:creationId xmlns:a16="http://schemas.microsoft.com/office/drawing/2014/main" id="{F7E04E23-82BF-41D5-8ABF-13513A7742F0}"/>
              </a:ext>
            </a:extLst>
          </p:cNvPr>
          <p:cNvGrpSpPr/>
          <p:nvPr/>
        </p:nvGrpSpPr>
        <p:grpSpPr>
          <a:xfrm rot="-10800000">
            <a:off x="-897601" y="792363"/>
            <a:ext cx="1795202" cy="322618"/>
            <a:chOff x="0" y="0"/>
            <a:chExt cx="3054608" cy="639062"/>
          </a:xfrm>
        </p:grpSpPr>
        <p:sp>
          <p:nvSpPr>
            <p:cNvPr id="49" name="Freeform 24">
              <a:extLst>
                <a:ext uri="{FF2B5EF4-FFF2-40B4-BE49-F238E27FC236}">
                  <a16:creationId xmlns:a16="http://schemas.microsoft.com/office/drawing/2014/main" id="{E30C0173-9D62-40EA-9189-BF534FB57623}"/>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50" name="TextBox 25">
              <a:extLst>
                <a:ext uri="{FF2B5EF4-FFF2-40B4-BE49-F238E27FC236}">
                  <a16:creationId xmlns:a16="http://schemas.microsoft.com/office/drawing/2014/main" id="{A2DD3FC3-338D-478E-AEB6-D5196D255E1A}"/>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sp>
        <p:nvSpPr>
          <p:cNvPr id="51" name="Freeform 24">
            <a:extLst>
              <a:ext uri="{FF2B5EF4-FFF2-40B4-BE49-F238E27FC236}">
                <a16:creationId xmlns:a16="http://schemas.microsoft.com/office/drawing/2014/main" id="{0F29C125-2770-4F23-8BAE-55A6F66BA9C9}"/>
              </a:ext>
            </a:extLst>
          </p:cNvPr>
          <p:cNvSpPr/>
          <p:nvPr/>
        </p:nvSpPr>
        <p:spPr>
          <a:xfrm rot="10800000">
            <a:off x="11045044" y="783079"/>
            <a:ext cx="2181529" cy="322617"/>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pic>
        <p:nvPicPr>
          <p:cNvPr id="3" name="Picture 2">
            <a:extLst>
              <a:ext uri="{FF2B5EF4-FFF2-40B4-BE49-F238E27FC236}">
                <a16:creationId xmlns:a16="http://schemas.microsoft.com/office/drawing/2014/main" id="{57B5E30B-6B4F-4068-9F65-AA7494F4A8CE}"/>
              </a:ext>
            </a:extLst>
          </p:cNvPr>
          <p:cNvPicPr>
            <a:picLocks noChangeAspect="1"/>
          </p:cNvPicPr>
          <p:nvPr/>
        </p:nvPicPr>
        <p:blipFill rotWithShape="1">
          <a:blip r:embed="rId10">
            <a:extLst>
              <a:ext uri="{28A0092B-C50C-407E-A947-70E740481C1C}">
                <a14:useLocalDpi xmlns:a14="http://schemas.microsoft.com/office/drawing/2010/main" val="0"/>
              </a:ext>
            </a:extLst>
          </a:blip>
          <a:srcRect l="1942" t="13442" r="2387" b="8802"/>
          <a:stretch/>
        </p:blipFill>
        <p:spPr>
          <a:xfrm>
            <a:off x="374259" y="4865647"/>
            <a:ext cx="2836100" cy="819146"/>
          </a:xfrm>
          <a:prstGeom prst="rect">
            <a:avLst/>
          </a:prstGeom>
          <a:ln>
            <a:noFill/>
          </a:ln>
        </p:spPr>
      </p:pic>
      <p:pic>
        <p:nvPicPr>
          <p:cNvPr id="5" name="Picture 4">
            <a:extLst>
              <a:ext uri="{FF2B5EF4-FFF2-40B4-BE49-F238E27FC236}">
                <a16:creationId xmlns:a16="http://schemas.microsoft.com/office/drawing/2014/main" id="{92715802-C2ED-4CE8-8DBC-966DD01C074B}"/>
              </a:ext>
            </a:extLst>
          </p:cNvPr>
          <p:cNvPicPr>
            <a:picLocks noChangeAspect="1"/>
          </p:cNvPicPr>
          <p:nvPr/>
        </p:nvPicPr>
        <p:blipFill>
          <a:blip r:embed="rId11"/>
          <a:stretch>
            <a:fillRect/>
          </a:stretch>
        </p:blipFill>
        <p:spPr>
          <a:xfrm>
            <a:off x="3422381" y="4745482"/>
            <a:ext cx="2719458" cy="939311"/>
          </a:xfrm>
          <a:prstGeom prst="rect">
            <a:avLst/>
          </a:prstGeom>
        </p:spPr>
      </p:pic>
      <p:pic>
        <p:nvPicPr>
          <p:cNvPr id="7" name="Picture 6">
            <a:extLst>
              <a:ext uri="{FF2B5EF4-FFF2-40B4-BE49-F238E27FC236}">
                <a16:creationId xmlns:a16="http://schemas.microsoft.com/office/drawing/2014/main" id="{925F2966-A4F1-4ED4-866B-9B96090FB7D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4259" y="1508729"/>
            <a:ext cx="5620908" cy="3161761"/>
          </a:xfrm>
          <a:prstGeom prst="rect">
            <a:avLst/>
          </a:prstGeom>
        </p:spPr>
      </p:pic>
      <p:pic>
        <p:nvPicPr>
          <p:cNvPr id="11" name="Picture 10">
            <a:extLst>
              <a:ext uri="{FF2B5EF4-FFF2-40B4-BE49-F238E27FC236}">
                <a16:creationId xmlns:a16="http://schemas.microsoft.com/office/drawing/2014/main" id="{1DA776F5-973A-419F-B436-365F805C8E19}"/>
              </a:ext>
            </a:extLst>
          </p:cNvPr>
          <p:cNvPicPr>
            <a:picLocks noChangeAspect="1"/>
          </p:cNvPicPr>
          <p:nvPr/>
        </p:nvPicPr>
        <p:blipFill rotWithShape="1">
          <a:blip r:embed="rId13">
            <a:extLst>
              <a:ext uri="{28A0092B-C50C-407E-A947-70E740481C1C}">
                <a14:useLocalDpi xmlns:a14="http://schemas.microsoft.com/office/drawing/2010/main" val="0"/>
              </a:ext>
            </a:extLst>
          </a:blip>
          <a:srcRect t="23565" b="12865"/>
          <a:stretch/>
        </p:blipFill>
        <p:spPr>
          <a:xfrm>
            <a:off x="6299970" y="1508729"/>
            <a:ext cx="5332638" cy="2065904"/>
          </a:xfrm>
          <a:prstGeom prst="rect">
            <a:avLst/>
          </a:prstGeom>
        </p:spPr>
      </p:pic>
      <p:sp>
        <p:nvSpPr>
          <p:cNvPr id="16" name="TextBox 15">
            <a:extLst>
              <a:ext uri="{FF2B5EF4-FFF2-40B4-BE49-F238E27FC236}">
                <a16:creationId xmlns:a16="http://schemas.microsoft.com/office/drawing/2014/main" id="{5693CAF8-A1FC-46DF-A786-ADAEABB11BA7}"/>
              </a:ext>
            </a:extLst>
          </p:cNvPr>
          <p:cNvSpPr txBox="1"/>
          <p:nvPr/>
        </p:nvSpPr>
        <p:spPr>
          <a:xfrm>
            <a:off x="331564" y="5758056"/>
            <a:ext cx="6181634" cy="923330"/>
          </a:xfrm>
          <a:prstGeom prst="rect">
            <a:avLst/>
          </a:prstGeom>
          <a:noFill/>
        </p:spPr>
        <p:txBody>
          <a:bodyPr wrap="square" rtlCol="0">
            <a:spAutoFit/>
          </a:bodyPr>
          <a:lstStyle/>
          <a:p>
            <a:r>
              <a:rPr lang="en-US" b="1" dirty="0">
                <a:latin typeface="Aptos" panose="020B0004020202020204" pitchFamily="34" charset="0"/>
              </a:rPr>
              <a:t>Have Resources to Share? </a:t>
            </a:r>
            <a:r>
              <a:rPr lang="en-US" b="0" i="0" dirty="0">
                <a:solidFill>
                  <a:srgbClr val="424242"/>
                </a:solidFill>
                <a:effectLst/>
                <a:latin typeface="Aptos" panose="020B0004020202020204" pitchFamily="34" charset="0"/>
              </a:rPr>
              <a:t>We invite you to contribute handouts, announcements, and updates that you believe would be valuable for our event attendees.</a:t>
            </a:r>
            <a:endParaRPr lang="en-US" dirty="0">
              <a:latin typeface="Aptos" panose="020B0004020202020204" pitchFamily="34" charset="0"/>
            </a:endParaRPr>
          </a:p>
        </p:txBody>
      </p:sp>
      <p:pic>
        <p:nvPicPr>
          <p:cNvPr id="4" name="Picture 3">
            <a:extLst>
              <a:ext uri="{FF2B5EF4-FFF2-40B4-BE49-F238E27FC236}">
                <a16:creationId xmlns:a16="http://schemas.microsoft.com/office/drawing/2014/main" id="{7DE267FA-F9CC-4FCA-B76C-FB55F5CCDE8D}"/>
              </a:ext>
            </a:extLst>
          </p:cNvPr>
          <p:cNvPicPr>
            <a:picLocks noChangeAspect="1"/>
          </p:cNvPicPr>
          <p:nvPr/>
        </p:nvPicPr>
        <p:blipFill rotWithShape="1">
          <a:blip r:embed="rId14">
            <a:extLst>
              <a:ext uri="{28A0092B-C50C-407E-A947-70E740481C1C}">
                <a14:useLocalDpi xmlns:a14="http://schemas.microsoft.com/office/drawing/2010/main" val="0"/>
              </a:ext>
            </a:extLst>
          </a:blip>
          <a:srcRect t="24956" b="16038"/>
          <a:stretch/>
        </p:blipFill>
        <p:spPr>
          <a:xfrm>
            <a:off x="6299970" y="3809999"/>
            <a:ext cx="5332638" cy="1948057"/>
          </a:xfrm>
          <a:prstGeom prst="rect">
            <a:avLst/>
          </a:prstGeom>
        </p:spPr>
      </p:pic>
    </p:spTree>
    <p:extLst>
      <p:ext uri="{BB962C8B-B14F-4D97-AF65-F5344CB8AC3E}">
        <p14:creationId xmlns:p14="http://schemas.microsoft.com/office/powerpoint/2010/main" val="2263598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7000"/>
            <a:lum/>
          </a:blip>
          <a:srcRect/>
          <a:stretch>
            <a:fillRect/>
          </a:stretch>
        </a:blipFill>
        <a:effectLst/>
      </p:bgPr>
    </p:bg>
    <p:spTree>
      <p:nvGrpSpPr>
        <p:cNvPr id="1" name=""/>
        <p:cNvGrpSpPr/>
        <p:nvPr/>
      </p:nvGrpSpPr>
      <p:grpSpPr>
        <a:xfrm>
          <a:off x="0" y="0"/>
          <a:ext cx="0" cy="0"/>
          <a:chOff x="0" y="0"/>
          <a:chExt cx="0" cy="0"/>
        </a:xfrm>
      </p:grpSpPr>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6" name="Freeform 46"/>
          <p:cNvSpPr/>
          <p:nvPr/>
        </p:nvSpPr>
        <p:spPr>
          <a:xfrm>
            <a:off x="6763559" y="67170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6">
              <a:extLst>
                <a:ext uri="{96DAC541-7B7A-43D3-8B79-37D633B846F1}">
                  <asvg:svgBlip xmlns:asvg="http://schemas.microsoft.com/office/drawing/2016/SVG/main" r:embed="rId7"/>
                </a:ext>
              </a:extLst>
            </a:blip>
            <a:stretch>
              <a:fillRect t="-561128"/>
            </a:stretch>
          </a:blipFill>
        </p:spPr>
      </p:sp>
      <p:sp>
        <p:nvSpPr>
          <p:cNvPr id="47" name="Freeform 47"/>
          <p:cNvSpPr/>
          <p:nvPr/>
        </p:nvSpPr>
        <p:spPr>
          <a:xfrm flipH="1">
            <a:off x="11362267" y="58895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15" name="TextBox 14">
            <a:extLst>
              <a:ext uri="{FF2B5EF4-FFF2-40B4-BE49-F238E27FC236}">
                <a16:creationId xmlns:a16="http://schemas.microsoft.com/office/drawing/2014/main" id="{1F96C785-DB67-42A3-977C-7C7AF4E75DB3}"/>
              </a:ext>
            </a:extLst>
          </p:cNvPr>
          <p:cNvSpPr txBox="1"/>
          <p:nvPr/>
        </p:nvSpPr>
        <p:spPr>
          <a:xfrm>
            <a:off x="1" y="133482"/>
            <a:ext cx="12135808" cy="861774"/>
          </a:xfrm>
          <a:prstGeom prst="rect">
            <a:avLst/>
          </a:prstGeom>
          <a:noFill/>
        </p:spPr>
        <p:txBody>
          <a:bodyPr wrap="square" rtlCol="0">
            <a:spAutoFit/>
          </a:bodyPr>
          <a:lstStyle/>
          <a:p>
            <a:pPr algn="ctr"/>
            <a:r>
              <a:rPr lang="en-US" sz="3200" b="1" dirty="0">
                <a:latin typeface="Aptos" panose="020B0004020202020204" pitchFamily="34" charset="0"/>
              </a:rPr>
              <a:t>Join OTN Partners at the Guardians Game</a:t>
            </a:r>
            <a:br>
              <a:rPr lang="en-US" sz="2000" b="1" dirty="0">
                <a:latin typeface="Aptos" panose="020B0004020202020204" pitchFamily="34" charset="0"/>
              </a:rPr>
            </a:br>
            <a:r>
              <a:rPr lang="en-US" dirty="0">
                <a:solidFill>
                  <a:srgbClr val="000000"/>
                </a:solidFill>
                <a:effectLst/>
                <a:latin typeface="Aptos" panose="020B0004020202020204" pitchFamily="34" charset="0"/>
                <a:ea typeface="Calibri" panose="020F0502020204030204" pitchFamily="34" charset="0"/>
              </a:rPr>
              <a:t>Tuesday</a:t>
            </a:r>
            <a:r>
              <a:rPr lang="en-US" dirty="0">
                <a:solidFill>
                  <a:srgbClr val="000000"/>
                </a:solidFill>
                <a:latin typeface="Aptos" panose="020B0004020202020204" pitchFamily="34" charset="0"/>
                <a:ea typeface="Calibri" panose="020F0502020204030204" pitchFamily="34" charset="0"/>
              </a:rPr>
              <a:t>, April 29</a:t>
            </a:r>
            <a:r>
              <a:rPr lang="en-US" baseline="30000" dirty="0">
                <a:solidFill>
                  <a:srgbClr val="000000"/>
                </a:solidFill>
                <a:latin typeface="Aptos" panose="020B0004020202020204" pitchFamily="34" charset="0"/>
                <a:ea typeface="Calibri" panose="020F0502020204030204" pitchFamily="34" charset="0"/>
              </a:rPr>
              <a:t>th</a:t>
            </a:r>
            <a:r>
              <a:rPr lang="en-US" dirty="0">
                <a:solidFill>
                  <a:srgbClr val="000000"/>
                </a:solidFill>
                <a:latin typeface="Aptos" panose="020B0004020202020204" pitchFamily="34" charset="0"/>
                <a:ea typeface="Calibri" panose="020F0502020204030204" pitchFamily="34" charset="0"/>
              </a:rPr>
              <a:t>, 2025 | 6:10 PM</a:t>
            </a:r>
          </a:p>
        </p:txBody>
      </p:sp>
      <p:grpSp>
        <p:nvGrpSpPr>
          <p:cNvPr id="48" name="Group 23">
            <a:extLst>
              <a:ext uri="{FF2B5EF4-FFF2-40B4-BE49-F238E27FC236}">
                <a16:creationId xmlns:a16="http://schemas.microsoft.com/office/drawing/2014/main" id="{F7E04E23-82BF-41D5-8ABF-13513A7742F0}"/>
              </a:ext>
            </a:extLst>
          </p:cNvPr>
          <p:cNvGrpSpPr/>
          <p:nvPr/>
        </p:nvGrpSpPr>
        <p:grpSpPr>
          <a:xfrm rot="-10800000">
            <a:off x="-2464247" y="720791"/>
            <a:ext cx="3817489" cy="322617"/>
            <a:chOff x="0" y="0"/>
            <a:chExt cx="3054608" cy="639062"/>
          </a:xfrm>
        </p:grpSpPr>
        <p:sp>
          <p:nvSpPr>
            <p:cNvPr id="49" name="Freeform 24">
              <a:extLst>
                <a:ext uri="{FF2B5EF4-FFF2-40B4-BE49-F238E27FC236}">
                  <a16:creationId xmlns:a16="http://schemas.microsoft.com/office/drawing/2014/main" id="{E30C0173-9D62-40EA-9189-BF534FB57623}"/>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50" name="TextBox 25">
              <a:extLst>
                <a:ext uri="{FF2B5EF4-FFF2-40B4-BE49-F238E27FC236}">
                  <a16:creationId xmlns:a16="http://schemas.microsoft.com/office/drawing/2014/main" id="{A2DD3FC3-338D-478E-AEB6-D5196D255E1A}"/>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sp>
        <p:nvSpPr>
          <p:cNvPr id="51" name="Freeform 24">
            <a:extLst>
              <a:ext uri="{FF2B5EF4-FFF2-40B4-BE49-F238E27FC236}">
                <a16:creationId xmlns:a16="http://schemas.microsoft.com/office/drawing/2014/main" id="{0F29C125-2770-4F23-8BAE-55A6F66BA9C9}"/>
              </a:ext>
            </a:extLst>
          </p:cNvPr>
          <p:cNvSpPr/>
          <p:nvPr/>
        </p:nvSpPr>
        <p:spPr>
          <a:xfrm rot="10800000">
            <a:off x="10513391" y="705552"/>
            <a:ext cx="3817489" cy="322617"/>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6" name="TextBox 5">
            <a:extLst>
              <a:ext uri="{FF2B5EF4-FFF2-40B4-BE49-F238E27FC236}">
                <a16:creationId xmlns:a16="http://schemas.microsoft.com/office/drawing/2014/main" id="{D70980E1-B4A2-414B-AFD2-B0E9EF19AFCF}"/>
              </a:ext>
            </a:extLst>
          </p:cNvPr>
          <p:cNvSpPr txBox="1"/>
          <p:nvPr/>
        </p:nvSpPr>
        <p:spPr>
          <a:xfrm>
            <a:off x="1442264" y="1439040"/>
            <a:ext cx="9137747" cy="2554545"/>
          </a:xfrm>
          <a:prstGeom prst="rect">
            <a:avLst/>
          </a:prstGeom>
          <a:noFill/>
        </p:spPr>
        <p:txBody>
          <a:bodyPr wrap="square" rtlCol="0">
            <a:spAutoFit/>
          </a:bodyPr>
          <a:lstStyle/>
          <a:p>
            <a:r>
              <a:rPr lang="en-US" sz="3200" dirty="0">
                <a:solidFill>
                  <a:srgbClr val="242424"/>
                </a:solidFill>
                <a:effectLst/>
                <a:latin typeface="Arial" panose="020B0604020202020204" pitchFamily="34" charset="0"/>
                <a:ea typeface="Calibri" panose="020F0502020204030204" pitchFamily="34" charset="0"/>
              </a:rPr>
              <a:t>Ohio TechNet invites you to an exciting evening of </a:t>
            </a:r>
            <a:r>
              <a:rPr lang="en-US" sz="3200" b="1" dirty="0">
                <a:solidFill>
                  <a:srgbClr val="242424"/>
                </a:solidFill>
                <a:effectLst/>
                <a:latin typeface="Arial" panose="020B0604020202020204" pitchFamily="34" charset="0"/>
                <a:ea typeface="Calibri" panose="020F0502020204030204" pitchFamily="34" charset="0"/>
              </a:rPr>
              <a:t>networking</a:t>
            </a:r>
            <a:r>
              <a:rPr lang="en-US" sz="3200" dirty="0">
                <a:solidFill>
                  <a:srgbClr val="242424"/>
                </a:solidFill>
                <a:effectLst/>
                <a:latin typeface="Arial" panose="020B0604020202020204" pitchFamily="34" charset="0"/>
                <a:ea typeface="Calibri" panose="020F0502020204030204" pitchFamily="34" charset="0"/>
              </a:rPr>
              <a:t>, </a:t>
            </a:r>
            <a:r>
              <a:rPr lang="en-US" sz="3200" b="1" dirty="0">
                <a:solidFill>
                  <a:srgbClr val="242424"/>
                </a:solidFill>
                <a:effectLst/>
                <a:latin typeface="Arial" panose="020B0604020202020204" pitchFamily="34" charset="0"/>
                <a:ea typeface="Calibri" panose="020F0502020204030204" pitchFamily="34" charset="0"/>
              </a:rPr>
              <a:t>baseball</a:t>
            </a:r>
            <a:r>
              <a:rPr lang="en-US" sz="3200" dirty="0">
                <a:solidFill>
                  <a:srgbClr val="242424"/>
                </a:solidFill>
                <a:effectLst/>
                <a:latin typeface="Arial" panose="020B0604020202020204" pitchFamily="34" charset="0"/>
                <a:ea typeface="Calibri" panose="020F0502020204030204" pitchFamily="34" charset="0"/>
              </a:rPr>
              <a:t>, and </a:t>
            </a:r>
            <a:r>
              <a:rPr lang="en-US" sz="3200" b="1" dirty="0">
                <a:solidFill>
                  <a:srgbClr val="242424"/>
                </a:solidFill>
                <a:effectLst/>
                <a:latin typeface="Arial" panose="020B0604020202020204" pitchFamily="34" charset="0"/>
                <a:ea typeface="Calibri" panose="020F0502020204030204" pitchFamily="34" charset="0"/>
              </a:rPr>
              <a:t>camaraderie. </a:t>
            </a:r>
            <a:br>
              <a:rPr lang="en-US" sz="2400" b="1" dirty="0">
                <a:solidFill>
                  <a:srgbClr val="242424"/>
                </a:solidFill>
                <a:effectLst/>
                <a:latin typeface="Arial" panose="020B0604020202020204" pitchFamily="34" charset="0"/>
                <a:ea typeface="Calibri" panose="020F0502020204030204" pitchFamily="34" charset="0"/>
              </a:rPr>
            </a:br>
            <a:br>
              <a:rPr lang="en-US" sz="2400" b="1" dirty="0">
                <a:solidFill>
                  <a:srgbClr val="242424"/>
                </a:solidFill>
                <a:effectLst/>
                <a:latin typeface="Arial" panose="020B0604020202020204" pitchFamily="34" charset="0"/>
                <a:ea typeface="Calibri" panose="020F0502020204030204" pitchFamily="34" charset="0"/>
              </a:rPr>
            </a:br>
            <a:r>
              <a:rPr lang="en-US" sz="2400" dirty="0">
                <a:solidFill>
                  <a:srgbClr val="242424"/>
                </a:solidFill>
                <a:effectLst/>
                <a:latin typeface="Arial" panose="020B0604020202020204" pitchFamily="34" charset="0"/>
                <a:ea typeface="Calibri" panose="020F0502020204030204" pitchFamily="34" charset="0"/>
              </a:rPr>
              <a:t>Purchase your ticket in advance and meet us at the game! </a:t>
            </a:r>
            <a:br>
              <a:rPr lang="en-US" sz="2400" dirty="0">
                <a:solidFill>
                  <a:srgbClr val="242424"/>
                </a:solidFill>
                <a:effectLst/>
                <a:latin typeface="Arial" panose="020B0604020202020204" pitchFamily="34" charset="0"/>
                <a:ea typeface="Calibri" panose="020F0502020204030204" pitchFamily="34" charset="0"/>
              </a:rPr>
            </a:br>
            <a:br>
              <a:rPr lang="en-US" sz="2400" dirty="0">
                <a:solidFill>
                  <a:srgbClr val="242424"/>
                </a:solidFill>
                <a:effectLst/>
                <a:latin typeface="Arial" panose="020B0604020202020204" pitchFamily="34" charset="0"/>
                <a:ea typeface="Calibri" panose="020F0502020204030204" pitchFamily="34" charset="0"/>
              </a:rPr>
            </a:br>
            <a:r>
              <a:rPr lang="en-US" sz="2400" dirty="0">
                <a:solidFill>
                  <a:srgbClr val="242424"/>
                </a:solidFill>
                <a:effectLst/>
                <a:latin typeface="Arial" panose="020B0604020202020204" pitchFamily="34" charset="0"/>
                <a:ea typeface="Calibri" panose="020F0502020204030204" pitchFamily="34" charset="0"/>
              </a:rPr>
              <a:t>Let us know you're coming </a:t>
            </a:r>
            <a:r>
              <a:rPr lang="en-US" sz="2400" b="1" u="none" strike="noStrike" dirty="0">
                <a:solidFill>
                  <a:srgbClr val="2C74FF"/>
                </a:solidFill>
                <a:effectLst/>
                <a:latin typeface="Arial" panose="020B0604020202020204" pitchFamily="34" charset="0"/>
                <a:ea typeface="Calibri" panose="020F0502020204030204" pitchFamily="34" charset="0"/>
                <a:hlinkClick r:id="rId10"/>
              </a:rPr>
              <a:t>here </a:t>
            </a:r>
            <a:r>
              <a:rPr lang="en-US" sz="2400" dirty="0">
                <a:solidFill>
                  <a:srgbClr val="242424"/>
                </a:solidFill>
                <a:effectLst/>
                <a:latin typeface="Arial" panose="020B0604020202020204" pitchFamily="34" charset="0"/>
                <a:ea typeface="Calibri" panose="020F0502020204030204" pitchFamily="34" charset="0"/>
              </a:rPr>
              <a:t>so we can plan accordingly. </a:t>
            </a:r>
            <a:endParaRPr lang="en-US" sz="2400" dirty="0"/>
          </a:p>
        </p:txBody>
      </p:sp>
      <p:sp>
        <p:nvSpPr>
          <p:cNvPr id="8" name="TextBox 7">
            <a:extLst>
              <a:ext uri="{FF2B5EF4-FFF2-40B4-BE49-F238E27FC236}">
                <a16:creationId xmlns:a16="http://schemas.microsoft.com/office/drawing/2014/main" id="{97ACAC63-0937-4543-B841-CBA791881A9C}"/>
              </a:ext>
            </a:extLst>
          </p:cNvPr>
          <p:cNvSpPr txBox="1"/>
          <p:nvPr/>
        </p:nvSpPr>
        <p:spPr>
          <a:xfrm>
            <a:off x="1442264" y="4338538"/>
            <a:ext cx="10219802" cy="1569660"/>
          </a:xfrm>
          <a:prstGeom prst="rect">
            <a:avLst/>
          </a:prstGeom>
          <a:noFill/>
        </p:spPr>
        <p:txBody>
          <a:bodyPr wrap="square" rtlCol="0">
            <a:spAutoFit/>
          </a:bodyPr>
          <a:lstStyle/>
          <a:p>
            <a:pPr marL="0" marR="0">
              <a:spcBef>
                <a:spcPts val="0"/>
              </a:spcBef>
              <a:spcAft>
                <a:spcPts val="0"/>
              </a:spcAft>
            </a:pPr>
            <a:r>
              <a:rPr lang="en-US" sz="2400" dirty="0">
                <a:solidFill>
                  <a:srgbClr val="242424"/>
                </a:solidFill>
                <a:effectLst/>
                <a:latin typeface="Segoe UI Emoji" panose="020B0502040204020203" pitchFamily="34" charset="0"/>
                <a:ea typeface="Calibri" panose="020F0502020204030204" pitchFamily="34" charset="0"/>
                <a:cs typeface="Segoe UI Emoji" panose="020B0502040204020203" pitchFamily="34" charset="0"/>
              </a:rPr>
              <a:t>📅</a:t>
            </a:r>
            <a:r>
              <a:rPr lang="en-US" sz="2400" dirty="0">
                <a:solidFill>
                  <a:srgbClr val="242424"/>
                </a:solidFill>
                <a:effectLst/>
                <a:latin typeface="Arial" panose="020B0604020202020204" pitchFamily="34" charset="0"/>
                <a:ea typeface="Calibri" panose="020F0502020204030204" pitchFamily="34" charset="0"/>
              </a:rPr>
              <a:t> </a:t>
            </a:r>
            <a:r>
              <a:rPr lang="en-US" sz="2400" b="1" dirty="0">
                <a:solidFill>
                  <a:srgbClr val="242424"/>
                </a:solidFill>
                <a:effectLst/>
                <a:latin typeface="Arial" panose="020B0604020202020204" pitchFamily="34" charset="0"/>
                <a:ea typeface="Calibri" panose="020F0502020204030204" pitchFamily="34" charset="0"/>
              </a:rPr>
              <a:t>Date</a:t>
            </a:r>
            <a:r>
              <a:rPr lang="en-US" sz="2400" dirty="0">
                <a:solidFill>
                  <a:srgbClr val="242424"/>
                </a:solidFill>
                <a:effectLst/>
                <a:latin typeface="Arial" panose="020B0604020202020204" pitchFamily="34" charset="0"/>
                <a:ea typeface="Calibri" panose="020F0502020204030204" pitchFamily="34" charset="0"/>
              </a:rPr>
              <a:t>: Tuesday, April 29, 2025, at 6:10 PM </a:t>
            </a:r>
            <a:endParaRPr lang="en-US" sz="24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2400" dirty="0">
                <a:solidFill>
                  <a:srgbClr val="242424"/>
                </a:solidFill>
                <a:effectLst/>
                <a:latin typeface="Segoe UI Emoji" panose="020B0502040204020203" pitchFamily="34" charset="0"/>
                <a:ea typeface="Calibri" panose="020F0502020204030204" pitchFamily="34" charset="0"/>
                <a:cs typeface="Segoe UI Emoji" panose="020B0502040204020203" pitchFamily="34" charset="0"/>
              </a:rPr>
              <a:t>📍</a:t>
            </a:r>
            <a:r>
              <a:rPr lang="en-US" sz="2400" dirty="0">
                <a:solidFill>
                  <a:srgbClr val="242424"/>
                </a:solidFill>
                <a:effectLst/>
                <a:latin typeface="Arial" panose="020B0604020202020204" pitchFamily="34" charset="0"/>
                <a:ea typeface="Calibri" panose="020F0502020204030204" pitchFamily="34" charset="0"/>
              </a:rPr>
              <a:t>  </a:t>
            </a:r>
            <a:r>
              <a:rPr lang="en-US" sz="2400" b="1" dirty="0">
                <a:solidFill>
                  <a:srgbClr val="242424"/>
                </a:solidFill>
                <a:effectLst/>
                <a:latin typeface="Arial" panose="020B0604020202020204" pitchFamily="34" charset="0"/>
                <a:ea typeface="Calibri" panose="020F0502020204030204" pitchFamily="34" charset="0"/>
              </a:rPr>
              <a:t>Location</a:t>
            </a:r>
            <a:r>
              <a:rPr lang="en-US" sz="2400" dirty="0">
                <a:solidFill>
                  <a:srgbClr val="242424"/>
                </a:solidFill>
                <a:effectLst/>
                <a:latin typeface="Arial" panose="020B0604020202020204" pitchFamily="34" charset="0"/>
                <a:ea typeface="Calibri" panose="020F0502020204030204" pitchFamily="34" charset="0"/>
              </a:rPr>
              <a:t>: Progressive Field, Cleveland </a:t>
            </a:r>
            <a:endParaRPr lang="en-US" sz="24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2400" dirty="0">
                <a:solidFill>
                  <a:srgbClr val="242424"/>
                </a:solidFill>
                <a:effectLst/>
                <a:latin typeface="Segoe UI Emoji" panose="020B0502040204020203" pitchFamily="34" charset="0"/>
                <a:ea typeface="Calibri" panose="020F0502020204030204" pitchFamily="34" charset="0"/>
                <a:cs typeface="Segoe UI Emoji" panose="020B0502040204020203" pitchFamily="34" charset="0"/>
              </a:rPr>
              <a:t>🎟</a:t>
            </a:r>
            <a:r>
              <a:rPr lang="en-US" sz="2400" dirty="0">
                <a:solidFill>
                  <a:srgbClr val="242424"/>
                </a:solidFill>
                <a:effectLst/>
                <a:latin typeface="Arial" panose="020B0604020202020204" pitchFamily="34" charset="0"/>
                <a:ea typeface="Calibri" panose="020F0502020204030204" pitchFamily="34" charset="0"/>
              </a:rPr>
              <a:t>  </a:t>
            </a:r>
            <a:r>
              <a:rPr lang="en-US" sz="2400" b="1" dirty="0">
                <a:solidFill>
                  <a:srgbClr val="242424"/>
                </a:solidFill>
                <a:effectLst/>
                <a:latin typeface="Arial" panose="020B0604020202020204" pitchFamily="34" charset="0"/>
                <a:ea typeface="Calibri" panose="020F0502020204030204" pitchFamily="34" charset="0"/>
              </a:rPr>
              <a:t>Tickets</a:t>
            </a:r>
            <a:r>
              <a:rPr lang="en-US" sz="2400" dirty="0">
                <a:solidFill>
                  <a:srgbClr val="242424"/>
                </a:solidFill>
                <a:effectLst/>
                <a:latin typeface="Arial" panose="020B0604020202020204" pitchFamily="34" charset="0"/>
                <a:ea typeface="Calibri" panose="020F0502020204030204" pitchFamily="34" charset="0"/>
              </a:rPr>
              <a:t>: $20 (including fees) – Pay Your Own </a:t>
            </a:r>
            <a:endParaRPr lang="en-US" sz="2400" dirty="0">
              <a:effectLst/>
              <a:latin typeface="Calibri" panose="020F0502020204030204" pitchFamily="34" charset="0"/>
              <a:ea typeface="Calibri" panose="020F0502020204030204" pitchFamily="34" charset="0"/>
            </a:endParaRPr>
          </a:p>
          <a:p>
            <a:r>
              <a:rPr lang="en-US" sz="2400" dirty="0">
                <a:solidFill>
                  <a:srgbClr val="242424"/>
                </a:solidFill>
                <a:effectLst/>
                <a:latin typeface="Segoe UI Emoji" panose="020B0502040204020203" pitchFamily="34" charset="0"/>
                <a:ea typeface="Calibri" panose="020F0502020204030204" pitchFamily="34" charset="0"/>
                <a:cs typeface="Segoe UI Emoji" panose="020B0502040204020203" pitchFamily="34" charset="0"/>
              </a:rPr>
              <a:t>🎫</a:t>
            </a:r>
            <a:r>
              <a:rPr lang="en-US" sz="2400" dirty="0">
                <a:solidFill>
                  <a:srgbClr val="242424"/>
                </a:solidFill>
                <a:effectLst/>
                <a:latin typeface="Arial" panose="020B0604020202020204" pitchFamily="34" charset="0"/>
                <a:ea typeface="Calibri" panose="020F0502020204030204" pitchFamily="34" charset="0"/>
              </a:rPr>
              <a:t> </a:t>
            </a:r>
            <a:r>
              <a:rPr lang="en-US" sz="2400" b="1" dirty="0">
                <a:solidFill>
                  <a:srgbClr val="242424"/>
                </a:solidFill>
                <a:effectLst/>
                <a:latin typeface="Arial" panose="020B0604020202020204" pitchFamily="34" charset="0"/>
                <a:ea typeface="Calibri" panose="020F0502020204030204" pitchFamily="34" charset="0"/>
              </a:rPr>
              <a:t>Ticket Type</a:t>
            </a:r>
            <a:r>
              <a:rPr lang="en-US" sz="2400" dirty="0">
                <a:solidFill>
                  <a:srgbClr val="242424"/>
                </a:solidFill>
                <a:effectLst/>
                <a:latin typeface="Arial" panose="020B0604020202020204" pitchFamily="34" charset="0"/>
                <a:ea typeface="Calibri" panose="020F0502020204030204" pitchFamily="34" charset="0"/>
              </a:rPr>
              <a:t>: Standing-Room Only District Ticket - The Corner Bar </a:t>
            </a:r>
            <a:endParaRPr lang="en-US" sz="2400" dirty="0"/>
          </a:p>
        </p:txBody>
      </p:sp>
    </p:spTree>
    <p:extLst>
      <p:ext uri="{BB962C8B-B14F-4D97-AF65-F5344CB8AC3E}">
        <p14:creationId xmlns:p14="http://schemas.microsoft.com/office/powerpoint/2010/main" val="3180746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3136937" y="3991090"/>
            <a:ext cx="8726115" cy="3447822"/>
            <a:chOff x="0" y="0"/>
            <a:chExt cx="677619" cy="267738"/>
          </a:xfrm>
        </p:grpSpPr>
        <p:sp>
          <p:nvSpPr>
            <p:cNvPr id="4" name="Freeform 4"/>
            <p:cNvSpPr/>
            <p:nvPr/>
          </p:nvSpPr>
          <p:spPr>
            <a:xfrm>
              <a:off x="0" y="0"/>
              <a:ext cx="677619" cy="267738"/>
            </a:xfrm>
            <a:custGeom>
              <a:avLst/>
              <a:gdLst/>
              <a:ahLst/>
              <a:cxnLst/>
              <a:rect l="l" t="t" r="r" b="b"/>
              <a:pathLst>
                <a:path w="677619" h="267738">
                  <a:moveTo>
                    <a:pt x="474419" y="0"/>
                  </a:moveTo>
                  <a:lnTo>
                    <a:pt x="0" y="0"/>
                  </a:lnTo>
                  <a:lnTo>
                    <a:pt x="203200" y="267738"/>
                  </a:lnTo>
                  <a:lnTo>
                    <a:pt x="677619" y="267738"/>
                  </a:lnTo>
                  <a:lnTo>
                    <a:pt x="474419" y="0"/>
                  </a:lnTo>
                  <a:close/>
                </a:path>
              </a:pathLst>
            </a:custGeom>
            <a:solidFill>
              <a:srgbClr val="A10D00"/>
            </a:solidFill>
          </p:spPr>
        </p:sp>
        <p:sp>
          <p:nvSpPr>
            <p:cNvPr id="5" name="TextBox 5"/>
            <p:cNvSpPr txBox="1"/>
            <p:nvPr/>
          </p:nvSpPr>
          <p:spPr>
            <a:xfrm>
              <a:off x="101600" y="-57150"/>
              <a:ext cx="474419" cy="324888"/>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grpSp>
        <p:nvGrpSpPr>
          <p:cNvPr id="6" name="Group 6"/>
          <p:cNvGrpSpPr/>
          <p:nvPr/>
        </p:nvGrpSpPr>
        <p:grpSpPr>
          <a:xfrm>
            <a:off x="-4671299" y="-165085"/>
            <a:ext cx="9247687" cy="5626082"/>
            <a:chOff x="0" y="0"/>
            <a:chExt cx="473570" cy="288109"/>
          </a:xfrm>
        </p:grpSpPr>
        <p:sp>
          <p:nvSpPr>
            <p:cNvPr id="7" name="Freeform 7"/>
            <p:cNvSpPr/>
            <p:nvPr/>
          </p:nvSpPr>
          <p:spPr>
            <a:xfrm>
              <a:off x="0" y="0"/>
              <a:ext cx="473570" cy="288109"/>
            </a:xfrm>
            <a:custGeom>
              <a:avLst/>
              <a:gdLst/>
              <a:ahLst/>
              <a:cxnLst/>
              <a:rect l="l" t="t" r="r" b="b"/>
              <a:pathLst>
                <a:path w="473570" h="288109">
                  <a:moveTo>
                    <a:pt x="203200" y="0"/>
                  </a:moveTo>
                  <a:lnTo>
                    <a:pt x="473570" y="0"/>
                  </a:lnTo>
                  <a:lnTo>
                    <a:pt x="270370" y="288109"/>
                  </a:lnTo>
                  <a:lnTo>
                    <a:pt x="0" y="288109"/>
                  </a:lnTo>
                  <a:lnTo>
                    <a:pt x="203200" y="0"/>
                  </a:lnTo>
                  <a:close/>
                </a:path>
              </a:pathLst>
            </a:custGeom>
            <a:solidFill>
              <a:srgbClr val="B51F19"/>
            </a:solidFill>
          </p:spPr>
        </p:sp>
        <p:sp>
          <p:nvSpPr>
            <p:cNvPr id="8" name="TextBox 8"/>
            <p:cNvSpPr txBox="1"/>
            <p:nvPr/>
          </p:nvSpPr>
          <p:spPr>
            <a:xfrm>
              <a:off x="101600" y="-57150"/>
              <a:ext cx="270370" cy="345259"/>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sp>
        <p:nvSpPr>
          <p:cNvPr id="9" name="Freeform 9"/>
          <p:cNvSpPr/>
          <p:nvPr/>
        </p:nvSpPr>
        <p:spPr>
          <a:xfrm rot="5400000">
            <a:off x="-501106" y="445037"/>
            <a:ext cx="5121263" cy="5559037"/>
          </a:xfrm>
          <a:custGeom>
            <a:avLst/>
            <a:gdLst/>
            <a:ahLst/>
            <a:cxnLst/>
            <a:rect l="l" t="t" r="r" b="b"/>
            <a:pathLst>
              <a:path w="7681894" h="8338555">
                <a:moveTo>
                  <a:pt x="0" y="0"/>
                </a:moveTo>
                <a:lnTo>
                  <a:pt x="7681894" y="0"/>
                </a:lnTo>
                <a:lnTo>
                  <a:pt x="7681894" y="8338555"/>
                </a:lnTo>
                <a:lnTo>
                  <a:pt x="0" y="8338555"/>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dirty="0"/>
          </a:p>
        </p:txBody>
      </p:sp>
      <p:grpSp>
        <p:nvGrpSpPr>
          <p:cNvPr id="10" name="Group 10"/>
          <p:cNvGrpSpPr/>
          <p:nvPr/>
        </p:nvGrpSpPr>
        <p:grpSpPr>
          <a:xfrm>
            <a:off x="277777" y="1670261"/>
            <a:ext cx="3393535" cy="3012663"/>
            <a:chOff x="0" y="0"/>
            <a:chExt cx="727368" cy="630606"/>
          </a:xfrm>
          <a:blipFill>
            <a:blip r:embed="rId4"/>
            <a:stretch>
              <a:fillRect t="-36562" b="-36562"/>
            </a:stretch>
          </a:blipFill>
        </p:grpSpPr>
        <p:sp>
          <p:nvSpPr>
            <p:cNvPr id="11" name="Freeform 11"/>
            <p:cNvSpPr/>
            <p:nvPr/>
          </p:nvSpPr>
          <p:spPr>
            <a:xfrm>
              <a:off x="0" y="0"/>
              <a:ext cx="727368" cy="630606"/>
            </a:xfrm>
            <a:custGeom>
              <a:avLst/>
              <a:gdLst/>
              <a:ahLst/>
              <a:cxnLst/>
              <a:rect l="l" t="t" r="r" b="b"/>
              <a:pathLst>
                <a:path w="727368" h="630606">
                  <a:moveTo>
                    <a:pt x="727368" y="315303"/>
                  </a:moveTo>
                  <a:lnTo>
                    <a:pt x="524168" y="630606"/>
                  </a:lnTo>
                  <a:lnTo>
                    <a:pt x="203200" y="630606"/>
                  </a:lnTo>
                  <a:lnTo>
                    <a:pt x="0" y="315303"/>
                  </a:lnTo>
                  <a:lnTo>
                    <a:pt x="203200" y="0"/>
                  </a:lnTo>
                  <a:lnTo>
                    <a:pt x="524168" y="0"/>
                  </a:lnTo>
                  <a:lnTo>
                    <a:pt x="727368" y="315303"/>
                  </a:lnTo>
                  <a:close/>
                </a:path>
              </a:pathLst>
            </a:custGeom>
            <a:blipFill dpi="0" rotWithShape="1">
              <a:blip r:embed="rId4"/>
              <a:srcRect/>
              <a:stretch>
                <a:fillRect l="-1000" t="2000" r="-1000" b="2000"/>
              </a:stretch>
            </a:blipFill>
            <a:ln w="142875" cap="sq">
              <a:solidFill>
                <a:srgbClr val="FFFFFF"/>
              </a:solidFill>
              <a:prstDash val="solid"/>
              <a:miter/>
            </a:ln>
          </p:spPr>
        </p:sp>
      </p:grpSp>
      <p:sp>
        <p:nvSpPr>
          <p:cNvPr id="12" name="Freeform 12"/>
          <p:cNvSpPr/>
          <p:nvPr/>
        </p:nvSpPr>
        <p:spPr>
          <a:xfrm rot="-5400000">
            <a:off x="1657861" y="3460846"/>
            <a:ext cx="3100291" cy="3365309"/>
          </a:xfrm>
          <a:custGeom>
            <a:avLst/>
            <a:gdLst/>
            <a:ahLst/>
            <a:cxnLst/>
            <a:rect l="l" t="t" r="r" b="b"/>
            <a:pathLst>
              <a:path w="4650437" h="5047964">
                <a:moveTo>
                  <a:pt x="0" y="0"/>
                </a:moveTo>
                <a:lnTo>
                  <a:pt x="4650437" y="0"/>
                </a:lnTo>
                <a:lnTo>
                  <a:pt x="4650437" y="5047964"/>
                </a:lnTo>
                <a:lnTo>
                  <a:pt x="0" y="504796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grpSp>
        <p:nvGrpSpPr>
          <p:cNvPr id="13" name="Group 13"/>
          <p:cNvGrpSpPr/>
          <p:nvPr/>
        </p:nvGrpSpPr>
        <p:grpSpPr>
          <a:xfrm>
            <a:off x="2045730" y="3634026"/>
            <a:ext cx="2736764" cy="2372695"/>
            <a:chOff x="0" y="0"/>
            <a:chExt cx="727368" cy="630606"/>
          </a:xfrm>
          <a:blipFill>
            <a:blip r:embed="rId5"/>
            <a:stretch>
              <a:fillRect t="-36562" b="-36562"/>
            </a:stretch>
          </a:blipFill>
        </p:grpSpPr>
        <p:sp>
          <p:nvSpPr>
            <p:cNvPr id="14" name="Freeform 14"/>
            <p:cNvSpPr/>
            <p:nvPr/>
          </p:nvSpPr>
          <p:spPr>
            <a:xfrm>
              <a:off x="0" y="0"/>
              <a:ext cx="727368" cy="630606"/>
            </a:xfrm>
            <a:custGeom>
              <a:avLst/>
              <a:gdLst/>
              <a:ahLst/>
              <a:cxnLst/>
              <a:rect l="l" t="t" r="r" b="b"/>
              <a:pathLst>
                <a:path w="727368" h="630606">
                  <a:moveTo>
                    <a:pt x="727368" y="315303"/>
                  </a:moveTo>
                  <a:lnTo>
                    <a:pt x="524168" y="630606"/>
                  </a:lnTo>
                  <a:lnTo>
                    <a:pt x="203200" y="630606"/>
                  </a:lnTo>
                  <a:lnTo>
                    <a:pt x="0" y="315303"/>
                  </a:lnTo>
                  <a:lnTo>
                    <a:pt x="203200" y="0"/>
                  </a:lnTo>
                  <a:lnTo>
                    <a:pt x="524168" y="0"/>
                  </a:lnTo>
                  <a:lnTo>
                    <a:pt x="727368" y="315303"/>
                  </a:lnTo>
                  <a:close/>
                </a:path>
              </a:pathLst>
            </a:custGeom>
            <a:grpFill/>
            <a:ln w="142875" cap="sq">
              <a:solidFill>
                <a:srgbClr val="FFFFFF"/>
              </a:solidFill>
              <a:prstDash val="solid"/>
              <a:miter/>
            </a:ln>
          </p:spPr>
        </p:sp>
      </p:grpSp>
      <p:sp>
        <p:nvSpPr>
          <p:cNvPr id="30" name="TextBox 30"/>
          <p:cNvSpPr txBox="1"/>
          <p:nvPr/>
        </p:nvSpPr>
        <p:spPr>
          <a:xfrm>
            <a:off x="5131952" y="1465062"/>
            <a:ext cx="6687541" cy="4493538"/>
          </a:xfrm>
          <a:prstGeom prst="rect">
            <a:avLst/>
          </a:prstGeom>
        </p:spPr>
        <p:txBody>
          <a:bodyPr wrap="square" lIns="0" tIns="0" rIns="0" bIns="0" rtlCol="0" anchor="t">
            <a:spAutoFit/>
          </a:bodyPr>
          <a:lstStyle/>
          <a:p>
            <a:pPr marL="285750" indent="-285750">
              <a:buFont typeface="Arial"/>
              <a:buChar char="•"/>
            </a:pPr>
            <a:r>
              <a:rPr lang="en-US" sz="1800" b="1" u="none" strike="noStrike" dirty="0">
                <a:solidFill>
                  <a:srgbClr val="2C74FF"/>
                </a:solidFill>
                <a:effectLst/>
                <a:latin typeface="Arial" panose="020B0604020202020204" pitchFamily="34" charset="0"/>
                <a:ea typeface="Times New Roman" panose="02020603050405020304" pitchFamily="18" charset="0"/>
                <a:hlinkClick r:id="rId6"/>
              </a:rPr>
              <a:t>METAL Bootcamp for Educators</a:t>
            </a:r>
            <a:r>
              <a:rPr lang="en-US" sz="1800" dirty="0">
                <a:solidFill>
                  <a:srgbClr val="0A0A0A"/>
                </a:solidFill>
                <a:effectLst/>
                <a:latin typeface="Arial" panose="020B0604020202020204" pitchFamily="34" charset="0"/>
                <a:ea typeface="Times New Roman" panose="02020603050405020304" pitchFamily="18" charset="0"/>
              </a:rPr>
              <a:t> at The Ohio State University - Ohio will be the 3rd location to run this bootcamp nationwide!</a:t>
            </a:r>
            <a:r>
              <a:rPr lang="en-US" sz="1800" dirty="0">
                <a:solidFill>
                  <a:srgbClr val="3E3E3E"/>
                </a:solidFill>
                <a:effectLst/>
                <a:latin typeface="Arial" panose="020B0604020202020204" pitchFamily="34" charset="0"/>
                <a:ea typeface="Times New Roman" panose="02020603050405020304" pitchFamily="18" charset="0"/>
              </a:rPr>
              <a:t> </a:t>
            </a:r>
            <a:br>
              <a:rPr lang="en-US" sz="2000" b="1" dirty="0">
                <a:solidFill>
                  <a:srgbClr val="242424"/>
                </a:solidFill>
                <a:latin typeface="Aptos" panose="020B0004020202020204" pitchFamily="34" charset="0"/>
                <a:cs typeface="Arial"/>
              </a:rPr>
            </a:br>
            <a:endParaRPr lang="en-US" sz="2000" b="1" dirty="0">
              <a:solidFill>
                <a:srgbClr val="242424"/>
              </a:solidFill>
              <a:latin typeface="Aptos" panose="020B0004020202020204" pitchFamily="34" charset="0"/>
              <a:cs typeface="Arial"/>
            </a:endParaRPr>
          </a:p>
          <a:p>
            <a:pPr marL="285750" indent="-285750">
              <a:buFont typeface="Arial"/>
              <a:buChar char="•"/>
            </a:pPr>
            <a:r>
              <a:rPr lang="en-US" sz="1800" dirty="0">
                <a:solidFill>
                  <a:srgbClr val="0A0A0A"/>
                </a:solidFill>
                <a:effectLst/>
                <a:latin typeface="Arial" panose="020B0604020202020204" pitchFamily="34" charset="0"/>
                <a:ea typeface="Times New Roman" panose="02020603050405020304" pitchFamily="18" charset="0"/>
              </a:rPr>
              <a:t>Technical assistance on the importance of r</a:t>
            </a:r>
            <a:r>
              <a:rPr lang="en-US" sz="1800" b="1" dirty="0">
                <a:solidFill>
                  <a:srgbClr val="0A0A0A"/>
                </a:solidFill>
                <a:effectLst/>
                <a:latin typeface="Arial" panose="020B0604020202020204" pitchFamily="34" charset="0"/>
                <a:ea typeface="Times New Roman" panose="02020603050405020304" pitchFamily="18" charset="0"/>
              </a:rPr>
              <a:t>ecords management </a:t>
            </a:r>
            <a:r>
              <a:rPr lang="en-US" sz="1800" dirty="0">
                <a:solidFill>
                  <a:srgbClr val="0A0A0A"/>
                </a:solidFill>
                <a:effectLst/>
                <a:latin typeface="Arial" panose="020B0604020202020204" pitchFamily="34" charset="0"/>
                <a:ea typeface="Times New Roman" panose="02020603050405020304" pitchFamily="18" charset="0"/>
              </a:rPr>
              <a:t>with federal grants</a:t>
            </a:r>
            <a:br>
              <a:rPr lang="en-US" sz="2000" b="1" dirty="0">
                <a:solidFill>
                  <a:srgbClr val="242424"/>
                </a:solidFill>
                <a:latin typeface="Aptos" panose="020B0004020202020204" pitchFamily="34" charset="0"/>
                <a:cs typeface="Arial"/>
              </a:rPr>
            </a:br>
            <a:endParaRPr lang="en-US" sz="2000" b="1" dirty="0">
              <a:solidFill>
                <a:srgbClr val="242424"/>
              </a:solidFill>
              <a:latin typeface="Aptos" panose="020B0004020202020204" pitchFamily="34" charset="0"/>
              <a:cs typeface="Arial"/>
            </a:endParaRPr>
          </a:p>
          <a:p>
            <a:pPr marL="285750" indent="-285750">
              <a:buFont typeface="Arial"/>
              <a:buChar char="•"/>
            </a:pPr>
            <a:r>
              <a:rPr lang="en-US" sz="1800" b="1" dirty="0">
                <a:solidFill>
                  <a:srgbClr val="060606"/>
                </a:solidFill>
                <a:effectLst/>
                <a:latin typeface="Arial" panose="020B0604020202020204" pitchFamily="34" charset="0"/>
                <a:ea typeface="Times New Roman" panose="02020603050405020304" pitchFamily="18" charset="0"/>
              </a:rPr>
              <a:t>Northshore Manufacturing Workforce Partnership</a:t>
            </a:r>
            <a:r>
              <a:rPr lang="en-US" sz="1800" dirty="0">
                <a:solidFill>
                  <a:srgbClr val="060606"/>
                </a:solidFill>
                <a:effectLst/>
                <a:latin typeface="Arial" panose="020B0604020202020204" pitchFamily="34" charset="0"/>
                <a:ea typeface="Times New Roman" panose="02020603050405020304" pitchFamily="18" charset="0"/>
              </a:rPr>
              <a:t>, </a:t>
            </a:r>
            <a:r>
              <a:rPr lang="en-US" sz="1800" dirty="0">
                <a:solidFill>
                  <a:srgbClr val="000000"/>
                </a:solidFill>
                <a:effectLst/>
                <a:latin typeface="Arial" panose="020B0604020202020204" pitchFamily="34" charset="0"/>
                <a:ea typeface="Times New Roman" panose="02020603050405020304" pitchFamily="18" charset="0"/>
              </a:rPr>
              <a:t>supported by a DOL Strengthening Community Colleges Round 5 (SCC5) investment</a:t>
            </a:r>
            <a:br>
              <a:rPr lang="en-US" sz="2000" b="1" dirty="0">
                <a:solidFill>
                  <a:srgbClr val="242424"/>
                </a:solidFill>
                <a:latin typeface="Aptos" panose="020B0004020202020204" pitchFamily="34" charset="0"/>
                <a:cs typeface="Arial"/>
              </a:rPr>
            </a:br>
            <a:endParaRPr lang="en-US" sz="2000" b="1" dirty="0">
              <a:solidFill>
                <a:srgbClr val="242424"/>
              </a:solidFill>
              <a:latin typeface="Aptos" panose="020B0004020202020204" pitchFamily="34" charset="0"/>
              <a:cs typeface="Arial"/>
            </a:endParaRPr>
          </a:p>
          <a:p>
            <a:pPr marL="285750" indent="-285750">
              <a:buFont typeface="Arial"/>
              <a:buChar char="•"/>
            </a:pPr>
            <a:r>
              <a:rPr lang="en-US" sz="1800" b="1" dirty="0">
                <a:solidFill>
                  <a:srgbClr val="060606"/>
                </a:solidFill>
                <a:effectLst/>
                <a:latin typeface="Arial" panose="020B0604020202020204" pitchFamily="34" charset="0"/>
                <a:ea typeface="Times New Roman" panose="02020603050405020304" pitchFamily="18" charset="0"/>
              </a:rPr>
              <a:t>Partner Updates </a:t>
            </a:r>
            <a:r>
              <a:rPr lang="en-US" sz="1800" dirty="0">
                <a:solidFill>
                  <a:srgbClr val="060606"/>
                </a:solidFill>
                <a:effectLst/>
                <a:latin typeface="Arial" panose="020B0604020202020204" pitchFamily="34" charset="0"/>
                <a:ea typeface="Times New Roman" panose="02020603050405020304" pitchFamily="18" charset="0"/>
              </a:rPr>
              <a:t>– We want to hear from you! Share your recent successes, new projects, or any challenges you're facing. Let's Collaborate! </a:t>
            </a:r>
            <a:br>
              <a:rPr lang="en-US" sz="2000" b="1" dirty="0">
                <a:solidFill>
                  <a:srgbClr val="242424"/>
                </a:solidFill>
                <a:latin typeface="Aptos" panose="020B0004020202020204" pitchFamily="34" charset="0"/>
                <a:cs typeface="Arial"/>
              </a:rPr>
            </a:br>
            <a:r>
              <a:rPr lang="en-US" sz="2000" b="1" dirty="0">
                <a:solidFill>
                  <a:srgbClr val="242424"/>
                </a:solidFill>
                <a:latin typeface="Aptos" panose="020B0004020202020204" pitchFamily="34" charset="0"/>
                <a:cs typeface="Arial"/>
              </a:rPr>
              <a:t> </a:t>
            </a:r>
          </a:p>
          <a:p>
            <a:pPr marL="285750" indent="-285750">
              <a:buFont typeface="Arial"/>
              <a:buChar char="•"/>
            </a:pPr>
            <a:endParaRPr lang="en-US" sz="1400" b="1" dirty="0">
              <a:solidFill>
                <a:srgbClr val="1D1A1B"/>
              </a:solidFill>
              <a:latin typeface="Aptos" panose="020B0004020202020204" pitchFamily="34" charset="0"/>
              <a:ea typeface="Public Sans Bold"/>
              <a:cs typeface="Public Sans Bold"/>
            </a:endParaRPr>
          </a:p>
        </p:txBody>
      </p:sp>
      <p:grpSp>
        <p:nvGrpSpPr>
          <p:cNvPr id="34" name="Group 34"/>
          <p:cNvGrpSpPr/>
          <p:nvPr/>
        </p:nvGrpSpPr>
        <p:grpSpPr>
          <a:xfrm>
            <a:off x="9709369" y="-984801"/>
            <a:ext cx="3593663" cy="1988251"/>
            <a:chOff x="0" y="0"/>
            <a:chExt cx="7187325" cy="3976501"/>
          </a:xfrm>
        </p:grpSpPr>
        <p:grpSp>
          <p:nvGrpSpPr>
            <p:cNvPr id="35" name="Group 35"/>
            <p:cNvGrpSpPr/>
            <p:nvPr/>
          </p:nvGrpSpPr>
          <p:grpSpPr>
            <a:xfrm rot="-10800000">
              <a:off x="0" y="0"/>
              <a:ext cx="7187325" cy="3262226"/>
              <a:chOff x="0" y="0"/>
              <a:chExt cx="1239720" cy="562692"/>
            </a:xfrm>
          </p:grpSpPr>
          <p:sp>
            <p:nvSpPr>
              <p:cNvPr id="36" name="Freeform 36"/>
              <p:cNvSpPr/>
              <p:nvPr/>
            </p:nvSpPr>
            <p:spPr>
              <a:xfrm>
                <a:off x="0" y="0"/>
                <a:ext cx="1239720" cy="562692"/>
              </a:xfrm>
              <a:custGeom>
                <a:avLst/>
                <a:gdLst/>
                <a:ahLst/>
                <a:cxnLst/>
                <a:rect l="l" t="t" r="r" b="b"/>
                <a:pathLst>
                  <a:path w="1239720" h="562692">
                    <a:moveTo>
                      <a:pt x="1239720" y="281346"/>
                    </a:moveTo>
                    <a:lnTo>
                      <a:pt x="1036520" y="562692"/>
                    </a:lnTo>
                    <a:lnTo>
                      <a:pt x="203200" y="562692"/>
                    </a:lnTo>
                    <a:lnTo>
                      <a:pt x="0" y="281346"/>
                    </a:lnTo>
                    <a:lnTo>
                      <a:pt x="203200" y="0"/>
                    </a:lnTo>
                    <a:lnTo>
                      <a:pt x="1036520" y="0"/>
                    </a:lnTo>
                    <a:lnTo>
                      <a:pt x="1239720" y="281346"/>
                    </a:lnTo>
                    <a:close/>
                  </a:path>
                </a:pathLst>
              </a:custGeom>
              <a:solidFill>
                <a:srgbClr val="A10D00"/>
              </a:solidFill>
            </p:spPr>
          </p:sp>
          <p:sp>
            <p:nvSpPr>
              <p:cNvPr id="37" name="TextBox 37"/>
              <p:cNvSpPr txBox="1"/>
              <p:nvPr/>
            </p:nvSpPr>
            <p:spPr>
              <a:xfrm>
                <a:off x="114300" y="-57150"/>
                <a:ext cx="1011120" cy="619842"/>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grpSp>
          <p:nvGrpSpPr>
            <p:cNvPr id="38" name="Group 38"/>
            <p:cNvGrpSpPr/>
            <p:nvPr/>
          </p:nvGrpSpPr>
          <p:grpSpPr>
            <a:xfrm rot="-10800000">
              <a:off x="2511062" y="2547952"/>
              <a:ext cx="3673400" cy="1428550"/>
              <a:chOff x="0" y="0"/>
              <a:chExt cx="1643297" cy="639062"/>
            </a:xfrm>
          </p:grpSpPr>
          <p:sp>
            <p:nvSpPr>
              <p:cNvPr id="39" name="Freeform 39"/>
              <p:cNvSpPr/>
              <p:nvPr/>
            </p:nvSpPr>
            <p:spPr>
              <a:xfrm>
                <a:off x="0" y="0"/>
                <a:ext cx="1643297" cy="639062"/>
              </a:xfrm>
              <a:custGeom>
                <a:avLst/>
                <a:gdLst/>
                <a:ahLst/>
                <a:cxnLst/>
                <a:rect l="l" t="t" r="r" b="b"/>
                <a:pathLst>
                  <a:path w="1643297" h="639062">
                    <a:moveTo>
                      <a:pt x="1643297" y="319531"/>
                    </a:moveTo>
                    <a:lnTo>
                      <a:pt x="1440097" y="639062"/>
                    </a:lnTo>
                    <a:lnTo>
                      <a:pt x="203200" y="639062"/>
                    </a:lnTo>
                    <a:lnTo>
                      <a:pt x="0" y="319531"/>
                    </a:lnTo>
                    <a:lnTo>
                      <a:pt x="203200" y="0"/>
                    </a:lnTo>
                    <a:lnTo>
                      <a:pt x="1440097" y="0"/>
                    </a:lnTo>
                    <a:lnTo>
                      <a:pt x="1643297" y="319531"/>
                    </a:lnTo>
                    <a:close/>
                  </a:path>
                </a:pathLst>
              </a:custGeom>
              <a:solidFill>
                <a:srgbClr val="B51F19"/>
              </a:solidFill>
              <a:ln w="57150" cap="sq">
                <a:solidFill>
                  <a:srgbClr val="FFFFFF"/>
                </a:solidFill>
                <a:prstDash val="solid"/>
                <a:miter/>
              </a:ln>
            </p:spPr>
          </p:sp>
          <p:sp>
            <p:nvSpPr>
              <p:cNvPr id="40" name="TextBox 40"/>
              <p:cNvSpPr txBox="1"/>
              <p:nvPr/>
            </p:nvSpPr>
            <p:spPr>
              <a:xfrm>
                <a:off x="114300" y="-57150"/>
                <a:ext cx="1414697" cy="696212"/>
              </a:xfrm>
              <a:prstGeom prst="rect">
                <a:avLst/>
              </a:prstGeom>
            </p:spPr>
            <p:txBody>
              <a:bodyPr lIns="33867" tIns="33867" rIns="33867" bIns="33867" rtlCol="0" anchor="ctr"/>
              <a:lstStyle/>
              <a:p>
                <a:pPr algn="ctr" defTabSz="609630">
                  <a:lnSpc>
                    <a:spcPts val="2333"/>
                  </a:lnSpc>
                  <a:defRPr/>
                </a:pPr>
                <a:endParaRPr sz="1200">
                  <a:solidFill>
                    <a:prstClr val="black"/>
                  </a:solidFill>
                  <a:latin typeface="Calibri"/>
                </a:endParaRPr>
              </a:p>
            </p:txBody>
          </p:sp>
        </p:grpSp>
      </p:grpSp>
      <p:sp>
        <p:nvSpPr>
          <p:cNvPr id="41" name="Freeform 41"/>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2" name="Freeform 42"/>
          <p:cNvSpPr/>
          <p:nvPr/>
        </p:nvSpPr>
        <p:spPr>
          <a:xfrm>
            <a:off x="389215" y="6593323"/>
            <a:ext cx="881039" cy="349108"/>
          </a:xfrm>
          <a:custGeom>
            <a:avLst/>
            <a:gdLst/>
            <a:ahLst/>
            <a:cxnLst/>
            <a:rect l="l" t="t" r="r" b="b"/>
            <a:pathLst>
              <a:path w="1321559" h="523662">
                <a:moveTo>
                  <a:pt x="0" y="0"/>
                </a:moveTo>
                <a:lnTo>
                  <a:pt x="1321558" y="0"/>
                </a:lnTo>
                <a:lnTo>
                  <a:pt x="1321558" y="523662"/>
                </a:lnTo>
                <a:lnTo>
                  <a:pt x="0" y="523662"/>
                </a:lnTo>
                <a:lnTo>
                  <a:pt x="0" y="0"/>
                </a:lnTo>
                <a:close/>
              </a:path>
            </a:pathLst>
          </a:custGeom>
          <a:blipFill>
            <a:blip r:embed="rId9">
              <a:extLst>
                <a:ext uri="{96DAC541-7B7A-43D3-8B79-37D633B846F1}">
                  <asvg:svgBlip xmlns:asvg="http://schemas.microsoft.com/office/drawing/2016/SVG/main" r:embed="rId10"/>
                </a:ext>
              </a:extLst>
            </a:blip>
            <a:stretch>
              <a:fillRect t="-20273" r="-21421"/>
            </a:stretch>
          </a:blipFill>
        </p:spPr>
      </p:sp>
      <p:sp>
        <p:nvSpPr>
          <p:cNvPr id="43" name="Freeform 43"/>
          <p:cNvSpPr/>
          <p:nvPr/>
        </p:nvSpPr>
        <p:spPr>
          <a:xfrm>
            <a:off x="1596111" y="213997"/>
            <a:ext cx="1022096" cy="192921"/>
          </a:xfrm>
          <a:custGeom>
            <a:avLst/>
            <a:gdLst/>
            <a:ahLst/>
            <a:cxnLst/>
            <a:rect l="l" t="t" r="r" b="b"/>
            <a:pathLst>
              <a:path w="1533144" h="289381">
                <a:moveTo>
                  <a:pt x="0" y="0"/>
                </a:moveTo>
                <a:lnTo>
                  <a:pt x="1533144" y="0"/>
                </a:lnTo>
                <a:lnTo>
                  <a:pt x="1533144" y="289381"/>
                </a:lnTo>
                <a:lnTo>
                  <a:pt x="0" y="289381"/>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4" name="Freeform 44"/>
          <p:cNvSpPr/>
          <p:nvPr/>
        </p:nvSpPr>
        <p:spPr>
          <a:xfrm>
            <a:off x="11025187" y="-1354798"/>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5" name="Freeform 45"/>
          <p:cNvSpPr/>
          <p:nvPr/>
        </p:nvSpPr>
        <p:spPr>
          <a:xfrm>
            <a:off x="6096000"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6" name="Freeform 46"/>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pic>
        <p:nvPicPr>
          <p:cNvPr id="29" name="Picture 28">
            <a:extLst>
              <a:ext uri="{FF2B5EF4-FFF2-40B4-BE49-F238E27FC236}">
                <a16:creationId xmlns:a16="http://schemas.microsoft.com/office/drawing/2014/main" id="{20D19F3C-A2CC-40EA-BD1B-06E287B4C40D}"/>
              </a:ext>
            </a:extLst>
          </p:cNvPr>
          <p:cNvPicPr>
            <a:picLocks noChangeAspect="1"/>
          </p:cNvPicPr>
          <p:nvPr/>
        </p:nvPicPr>
        <p:blipFill>
          <a:blip r:embed="rId19">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5357517" y="139240"/>
            <a:ext cx="2405750" cy="642213"/>
          </a:xfrm>
          <a:prstGeom prst="rect">
            <a:avLst/>
          </a:prstGeom>
        </p:spPr>
      </p:pic>
    </p:spTree>
    <p:extLst>
      <p:ext uri="{BB962C8B-B14F-4D97-AF65-F5344CB8AC3E}">
        <p14:creationId xmlns:p14="http://schemas.microsoft.com/office/powerpoint/2010/main" val="28353114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844DA-40D8-7C92-7B9C-0C0F867FFC2D}"/>
              </a:ext>
            </a:extLst>
          </p:cNvPr>
          <p:cNvSpPr>
            <a:spLocks noGrp="1"/>
          </p:cNvSpPr>
          <p:nvPr>
            <p:ph type="ctrTitle"/>
          </p:nvPr>
        </p:nvSpPr>
        <p:spPr/>
        <p:txBody>
          <a:bodyPr>
            <a:normAutofit/>
          </a:bodyPr>
          <a:lstStyle/>
          <a:p>
            <a:r>
              <a:rPr lang="en-US" sz="5500" dirty="0"/>
              <a:t>CDME and METAL</a:t>
            </a:r>
          </a:p>
        </p:txBody>
      </p:sp>
    </p:spTree>
    <p:extLst>
      <p:ext uri="{BB962C8B-B14F-4D97-AF65-F5344CB8AC3E}">
        <p14:creationId xmlns:p14="http://schemas.microsoft.com/office/powerpoint/2010/main" val="522846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IOxJhb.PtGFSUlKbkJcRw"/>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MC_PP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1_CSCC_16x9_ratio">
  <a:themeElements>
    <a:clrScheme name="CSCC color palette">
      <a:dk1>
        <a:srgbClr val="00749B"/>
      </a:dk1>
      <a:lt1>
        <a:srgbClr val="FFFFFF"/>
      </a:lt1>
      <a:dk2>
        <a:srgbClr val="003D52"/>
      </a:dk2>
      <a:lt2>
        <a:srgbClr val="A0ABAA"/>
      </a:lt2>
      <a:accent1>
        <a:srgbClr val="00A4B5"/>
      </a:accent1>
      <a:accent2>
        <a:srgbClr val="99DAE9"/>
      </a:accent2>
      <a:accent3>
        <a:srgbClr val="FFB81C"/>
      </a:accent3>
      <a:accent4>
        <a:srgbClr val="D2D654"/>
      </a:accent4>
      <a:accent5>
        <a:srgbClr val="78BD20"/>
      </a:accent5>
      <a:accent6>
        <a:srgbClr val="636569"/>
      </a:accent6>
      <a:hlink>
        <a:srgbClr val="00A4B5"/>
      </a:hlink>
      <a:folHlink>
        <a:srgbClr val="99DAE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DME Theme">
  <a:themeElements>
    <a:clrScheme name="Custom 4">
      <a:dk1>
        <a:srgbClr val="3F4443"/>
      </a:dk1>
      <a:lt1>
        <a:srgbClr val="FFFFFF"/>
      </a:lt1>
      <a:dk2>
        <a:srgbClr val="3F4443"/>
      </a:dk2>
      <a:lt2>
        <a:srgbClr val="FFFFFF"/>
      </a:lt2>
      <a:accent1>
        <a:srgbClr val="737B7E"/>
      </a:accent1>
      <a:accent2>
        <a:srgbClr val="830065"/>
      </a:accent2>
      <a:accent3>
        <a:srgbClr val="6EBBAB"/>
      </a:accent3>
      <a:accent4>
        <a:srgbClr val="B04558"/>
      </a:accent4>
      <a:accent5>
        <a:srgbClr val="FFB600"/>
      </a:accent5>
      <a:accent6>
        <a:srgbClr val="0E4B52"/>
      </a:accent6>
      <a:hlink>
        <a:srgbClr val="E65F33"/>
      </a:hlink>
      <a:folHlink>
        <a:srgbClr val="FFFFFF"/>
      </a:folHlink>
    </a:clrScheme>
    <a:fontScheme name="Ohio State Custom Fonts">
      <a:majorFont>
        <a:latin typeface="Buckeye Serif Black"/>
        <a:ea typeface=""/>
        <a:cs typeface=""/>
      </a:majorFont>
      <a:minorFont>
        <a:latin typeface="Buckey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DME Powerpoint Template.potx" id="{B99A796C-CE3E-4669-A809-9F0D11DE5B98}" vid="{7AA2B021-8C10-4119-86B4-6DF4FF359B7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187EC51ED2B6844A82AB32FC0F9248B" ma:contentTypeVersion="15" ma:contentTypeDescription="Create a new document." ma:contentTypeScope="" ma:versionID="cdb13648f7ea51a33e7c5bc064880a19">
  <xsd:schema xmlns:xsd="http://www.w3.org/2001/XMLSchema" xmlns:xs="http://www.w3.org/2001/XMLSchema" xmlns:p="http://schemas.microsoft.com/office/2006/metadata/properties" xmlns:ns2="898e130b-c41d-43b3-a2e9-0367076db2b0" xmlns:ns3="1671a269-1779-4073-b3e6-1550449daca2" targetNamespace="http://schemas.microsoft.com/office/2006/metadata/properties" ma:root="true" ma:fieldsID="4cc59458ddc4e2cc09d30506ed2e83d1" ns2:_="" ns3:_="">
    <xsd:import namespace="898e130b-c41d-43b3-a2e9-0367076db2b0"/>
    <xsd:import namespace="1671a269-1779-4073-b3e6-1550449daca2"/>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8e130b-c41d-43b3-a2e9-0367076db2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8b393d6e-3e21-401c-be66-9c7b90428da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671a269-1779-4073-b3e6-1550449daca2"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56edcbe-ffad-439b-8f6b-171a06ab1d93}" ma:internalName="TaxCatchAll" ma:showField="CatchAllData" ma:web="1671a269-1779-4073-b3e6-1550449daca2">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98e130b-c41d-43b3-a2e9-0367076db2b0">
      <Terms xmlns="http://schemas.microsoft.com/office/infopath/2007/PartnerControls"/>
    </lcf76f155ced4ddcb4097134ff3c332f>
    <TaxCatchAll xmlns="1671a269-1779-4073-b3e6-1550449daca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6ECCB6-DC4F-408A-9403-AB44442DDBDA}">
  <ds:schemaRefs>
    <ds:schemaRef ds:uri="1671a269-1779-4073-b3e6-1550449daca2"/>
    <ds:schemaRef ds:uri="898e130b-c41d-43b3-a2e9-0367076db2b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29FD2D6-7ED4-4B17-81FC-5D9C00427523}">
  <ds:schemaRefs>
    <ds:schemaRef ds:uri="http://schemas.openxmlformats.org/package/2006/metadata/core-properties"/>
    <ds:schemaRef ds:uri="http://schemas.microsoft.com/office/2006/metadata/properties"/>
    <ds:schemaRef ds:uri="http://schemas.microsoft.com/office/2006/documentManagement/types"/>
    <ds:schemaRef ds:uri="http://purl.org/dc/elements/1.1/"/>
    <ds:schemaRef ds:uri="898e130b-c41d-43b3-a2e9-0367076db2b0"/>
    <ds:schemaRef ds:uri="http://purl.org/dc/dcmitype/"/>
    <ds:schemaRef ds:uri="http://purl.org/dc/terms/"/>
    <ds:schemaRef ds:uri="http://schemas.microsoft.com/office/infopath/2007/PartnerControls"/>
    <ds:schemaRef ds:uri="1671a269-1779-4073-b3e6-1550449daca2"/>
    <ds:schemaRef ds:uri="http://www.w3.org/XML/1998/namespace"/>
  </ds:schemaRefs>
</ds:datastoreItem>
</file>

<file path=customXml/itemProps3.xml><?xml version="1.0" encoding="utf-8"?>
<ds:datastoreItem xmlns:ds="http://schemas.openxmlformats.org/officeDocument/2006/customXml" ds:itemID="{1D32C81E-03DF-4C79-A517-8C1F424B7B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31</TotalTime>
  <Words>1083</Words>
  <Application>Microsoft Office PowerPoint</Application>
  <PresentationFormat>Widescreen</PresentationFormat>
  <Paragraphs>113</Paragraphs>
  <Slides>21</Slides>
  <Notes>8</Notes>
  <HiddenSlides>0</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43" baseType="lpstr">
      <vt:lpstr>Aptos</vt:lpstr>
      <vt:lpstr>Arial</vt:lpstr>
      <vt:lpstr>Avenir Book</vt:lpstr>
      <vt:lpstr>Avenir Heavy</vt:lpstr>
      <vt:lpstr>Buckeye Sans</vt:lpstr>
      <vt:lpstr>Buckeye Sans 2</vt:lpstr>
      <vt:lpstr>Buckeye Serif 2 Black</vt:lpstr>
      <vt:lpstr>Buckeye Serif 2 SemiBold</vt:lpstr>
      <vt:lpstr>Calibri</vt:lpstr>
      <vt:lpstr>Calibri Light</vt:lpstr>
      <vt:lpstr>Gill Sans MT</vt:lpstr>
      <vt:lpstr>Helvetica</vt:lpstr>
      <vt:lpstr>proximanova</vt:lpstr>
      <vt:lpstr>Public Sans</vt:lpstr>
      <vt:lpstr>Public Sans Bold</vt:lpstr>
      <vt:lpstr>Segoe UI Emoji</vt:lpstr>
      <vt:lpstr>Office Theme</vt:lpstr>
      <vt:lpstr>MMC_PP Template</vt:lpstr>
      <vt:lpstr>Custom Design</vt:lpstr>
      <vt:lpstr>1_CSCC_16x9_ratio</vt:lpstr>
      <vt:lpstr>CDM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DME and METAL</vt:lpstr>
      <vt:lpstr>Ryan Petitti</vt:lpstr>
      <vt:lpstr>CDME in a Nutshell</vt:lpstr>
      <vt:lpstr>What is ACE</vt:lpstr>
      <vt:lpstr>What is METAL?</vt:lpstr>
      <vt:lpstr>METAL @ OSU</vt:lpstr>
      <vt:lpstr>Question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urtney Tenhover</dc:creator>
  <cp:lastModifiedBy>Courtney Tenhover</cp:lastModifiedBy>
  <cp:revision>89</cp:revision>
  <dcterms:created xsi:type="dcterms:W3CDTF">2025-01-17T15:27:08Z</dcterms:created>
  <dcterms:modified xsi:type="dcterms:W3CDTF">2025-04-15T12:1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87EC51ED2B6844A82AB32FC0F9248B</vt:lpwstr>
  </property>
  <property fmtid="{D5CDD505-2E9C-101B-9397-08002B2CF9AE}" pid="3" name="MediaServiceImageTags">
    <vt:lpwstr/>
  </property>
</Properties>
</file>